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Default Extension="wav" ContentType="audio/wav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"/>
  </p:notesMasterIdLst>
  <p:sldIdLst>
    <p:sldId id="256" r:id="rId3"/>
    <p:sldId id="277" r:id="rId4"/>
    <p:sldId id="286" r:id="rId5"/>
    <p:sldId id="290" r:id="rId6"/>
    <p:sldId id="291" r:id="rId7"/>
  </p:sldIdLst>
  <p:sldSz cx="9144000" cy="6858000" type="screen4x3"/>
  <p:notesSz cx="6858000" cy="9144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FEFD1"/>
    <a:srgbClr val="0061B2"/>
    <a:srgbClr val="C1C2C3"/>
    <a:srgbClr val="F8F8F8"/>
    <a:srgbClr val="EAEAEA"/>
    <a:srgbClr val="C89D50"/>
    <a:srgbClr val="836329"/>
    <a:srgbClr val="CEA864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6819" autoAdjust="0"/>
    <p:restoredTop sz="94438" autoAdjust="0"/>
  </p:normalViewPr>
  <p:slideViewPr>
    <p:cSldViewPr snapToGrid="0" snapToObjects="1">
      <p:cViewPr>
        <p:scale>
          <a:sx n="75" d="100"/>
          <a:sy n="75" d="100"/>
        </p:scale>
        <p:origin x="-1968" y="-840"/>
      </p:cViewPr>
      <p:guideLst>
        <p:guide orient="horz" pos="431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4903D009-14E5-498F-8170-8E8EB0B7F672}" type="slidenum">
              <a:rPr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B37176C-2AFC-4719-B10C-FA8CC1006AA7}" type="slidenum">
              <a:rPr altLang="zh-CN" sz="1200" noProof="1"/>
              <a:pPr algn="r"/>
              <a:t>1</a:t>
            </a:fld>
            <a:endParaRPr lang="zh-CN" altLang="zh-CN" sz="1200" noProof="1"/>
          </a:p>
        </p:txBody>
      </p:sp>
      <p:sp>
        <p:nvSpPr>
          <p:cNvPr id="15362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3D330DE-29D2-4CBA-BDB9-0D32896F627A}" type="slidenum">
              <a:rPr lang="en-GB" altLang="zh-CN" sz="1300"/>
              <a:pPr algn="r" defTabSz="947738"/>
              <a:t>1</a:t>
            </a:fld>
            <a:endParaRPr lang="en-GB" altLang="zh-CN" sz="130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zh-CN" altLang="zh-CN" noProof="1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E3AB287-4F88-4325-AE3C-4E29C9A9D00A}" type="slidenum">
              <a:rPr altLang="zh-CN" sz="1200" noProof="1"/>
              <a:pPr algn="r"/>
              <a:t>2</a:t>
            </a:fld>
            <a:endParaRPr lang="zh-CN" altLang="zh-CN" sz="1200" noProof="1"/>
          </a:p>
        </p:txBody>
      </p:sp>
      <p:sp>
        <p:nvSpPr>
          <p:cNvPr id="17410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27648418-2DB7-4C39-9F49-5B4703B833E5}" type="slidenum">
              <a:rPr lang="en-GB" altLang="zh-CN" sz="1300"/>
              <a:pPr algn="r" defTabSz="947738"/>
              <a:t>2</a:t>
            </a:fld>
            <a:endParaRPr lang="en-GB" altLang="zh-CN" sz="13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zh-CN" altLang="zh-CN" noProof="1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5364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2215FC5-F0AF-4138-A367-24DAE60E7EDB}" type="slidenum">
              <a:rPr lang="zh-CN" altLang="en-US" smtClean="0"/>
              <a:pPr/>
              <a:t>5</a:t>
            </a:fld>
            <a:endParaRPr lang="zh-C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382"/>
            <a:ext cx="7772400" cy="1469164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5374"/>
            <a:ext cx="6400800" cy="1753087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BC2FF4-AEA0-4567-9492-34036D7B43DB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437612-C920-432B-807B-C3F797D137E8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E13754-345C-481E-90F5-DE78EF024F42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38C8F0-0C43-4179-9323-8234E4D61A6C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7490"/>
            <a:ext cx="7772400" cy="136054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5933"/>
            <a:ext cx="7772400" cy="150155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B3233-A5FE-45DA-B21D-3E0C421B40C7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360E35-2300-44DA-864E-B92D53F2E3AB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645"/>
            <a:ext cx="4038600" cy="452563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645"/>
            <a:ext cx="4038600" cy="452563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6058E2-6602-4B39-9569-D1CD2B13571E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9C128E-ED84-455E-BCD1-04FAD68D59E3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857"/>
            <a:ext cx="4040188" cy="63835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210"/>
            <a:ext cx="4040188" cy="395206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535857"/>
            <a:ext cx="4041775" cy="63835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2174210"/>
            <a:ext cx="4041775" cy="395206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75FAF-EDA0-4108-A899-B41890425192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CB789-0D7C-4822-ABF9-AC830E924AD6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F3392-185A-4609-992B-BBC9EC94DAF1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11625-B9B1-41DC-9581-03DB0200905F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5152B-4BA0-43F9-AF6B-DF7E25428EC8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08C8D-2CA6-429F-92AF-ED3044106180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72492"/>
            <a:ext cx="3008313" cy="116237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2491"/>
            <a:ext cx="5111750" cy="585378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434865"/>
            <a:ext cx="3008313" cy="4691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38871E-2E0B-4300-A785-E955F7647C3D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E33C2-5F95-4E4E-A4BD-2BF63B1CD150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029"/>
            <a:ext cx="5486400" cy="56784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3581"/>
            <a:ext cx="5486400" cy="41140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>
              <a:sym typeface="Calibri" pitchFamily="34" charset="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877"/>
            <a:ext cx="5486400" cy="8041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DA525-68C5-414A-9CDF-8C72B19194EF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7A8639-E015-4E29-9D55-85B918CA02A4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834578-BEF4-4118-8C44-F8273C9C36D4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BACBE-B1F1-4CD6-9B48-AA6D320ED2AD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397"/>
            <a:ext cx="2057400" cy="585188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397"/>
            <a:ext cx="6019800" cy="5851881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4EC46-8F00-4862-8483-FD6684170C89}" type="datetime1">
              <a:rPr lang="zh-CN" altLang="en-US"/>
              <a:pPr>
                <a:defRPr/>
              </a:pPr>
              <a:t>2014/12/31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3D8932-9C27-4FBC-9F02-C8A0BEDEE961}" type="slidenum">
              <a:rPr lang="zh-CN" altLang="en-US"/>
              <a:pPr>
                <a:defRPr/>
              </a:pPr>
              <a:t>‹#›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+mn-ea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CN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>
                <a:ea typeface="+mn-ea"/>
              </a:rPr>
              <a:t>Page </a:t>
            </a:r>
            <a:r>
              <a:rPr lang="de-DE" sz="1000">
                <a:ea typeface="+mn-ea"/>
                <a:sym typeface="Wingdings" pitchFamily="2" charset="2"/>
              </a:rPr>
              <a:t></a:t>
            </a:r>
            <a:r>
              <a:rPr lang="de-DE" sz="1000">
                <a:ea typeface="+mn-ea"/>
              </a:rPr>
              <a:t> </a:t>
            </a:r>
            <a:fld id="{5F364740-CCB8-4AEA-B745-3657A1306368}" type="slidenum">
              <a:rPr lang="de-DE" sz="1000">
                <a:ea typeface="+mn-ea"/>
              </a:rPr>
              <a:pPr>
                <a:defRPr/>
              </a:pPr>
              <a:t>‹#›</a:t>
            </a:fld>
            <a:endParaRPr lang="de-DE" sz="1000">
              <a:ea typeface="+mn-ea"/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7173913" y="6156325"/>
            <a:ext cx="1646237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600" b="1">
                <a:ea typeface="+mn-ea"/>
              </a:rPr>
              <a:t>YOU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标题占位符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396"/>
            <a:ext cx="8229600" cy="1143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smtClean="0">
                <a:sym typeface="Calibri" pitchFamily="34" charset="0"/>
              </a:rPr>
              <a:t>单击此处编辑母版标题样式</a:t>
            </a:r>
          </a:p>
        </p:txBody>
      </p:sp>
      <p:sp>
        <p:nvSpPr>
          <p:cNvPr id="1027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645"/>
            <a:ext cx="8229600" cy="4525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smtClean="0">
                <a:sym typeface="Calibri" pitchFamily="34" charset="0"/>
              </a:rPr>
              <a:t>单击此处编辑母版文本样式</a:t>
            </a:r>
          </a:p>
          <a:p>
            <a:pPr lvl="1"/>
            <a:r>
              <a:rPr lang="zh-CN" smtClean="0">
                <a:sym typeface="Calibri" pitchFamily="34" charset="0"/>
              </a:rPr>
              <a:t>第二级</a:t>
            </a:r>
          </a:p>
          <a:p>
            <a:pPr lvl="2"/>
            <a:r>
              <a:rPr lang="zh-CN" smtClean="0">
                <a:sym typeface="Calibri" pitchFamily="34" charset="0"/>
              </a:rPr>
              <a:t>第三级</a:t>
            </a:r>
          </a:p>
          <a:p>
            <a:pPr lvl="3"/>
            <a:r>
              <a:rPr lang="zh-CN" smtClean="0">
                <a:sym typeface="Calibri" pitchFamily="34" charset="0"/>
              </a:rPr>
              <a:t>第四级</a:t>
            </a:r>
          </a:p>
          <a:p>
            <a:pPr lvl="4"/>
            <a:r>
              <a:rPr lang="zh-CN" smtClean="0">
                <a:sym typeface="Calibri" pitchFamily="34" charset="0"/>
              </a:rPr>
              <a:t>第五级</a:t>
            </a:r>
          </a:p>
        </p:txBody>
      </p:sp>
      <p:sp>
        <p:nvSpPr>
          <p:cNvPr id="1028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846"/>
            <a:ext cx="2133600" cy="363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buFont typeface="Arial" pitchFamily="34" charset="0"/>
              <a:buNone/>
              <a:defRPr sz="1200">
                <a:solidFill>
                  <a:srgbClr val="898989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44E05F80-5D2C-4CDB-982D-F21A78D2E32B}" type="datetime1">
              <a:rPr lang="zh-CN" altLang="en-US"/>
              <a:pPr>
                <a:defRPr/>
              </a:pPr>
              <a:t>2014/12/31</a:t>
            </a:fld>
            <a:endParaRPr lang="zh-CN" altLang="en-US"/>
          </a:p>
        </p:txBody>
      </p:sp>
      <p:sp>
        <p:nvSpPr>
          <p:cNvPr id="1029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846"/>
            <a:ext cx="2895600" cy="363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buFont typeface="Arial" pitchFamily="34" charset="0"/>
              <a:buNone/>
              <a:defRPr sz="1200">
                <a:solidFill>
                  <a:srgbClr val="898989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1030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846"/>
            <a:ext cx="2133600" cy="363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buFont typeface="Arial" pitchFamily="34" charset="0"/>
              <a:buNone/>
              <a:defRPr sz="1200">
                <a:solidFill>
                  <a:srgbClr val="898989"/>
                </a:solidFill>
                <a:latin typeface="+mn-lt"/>
                <a:ea typeface="MS PGothic" pitchFamily="34" charset="-128"/>
                <a:sym typeface="Calibri" pitchFamily="34" charset="0"/>
              </a:defRPr>
            </a:lvl1pPr>
          </a:lstStyle>
          <a:p>
            <a:pPr>
              <a:defRPr/>
            </a:pPr>
            <a:fld id="{8882CC56-4CBB-4B70-80E1-3E0492CBCD7B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defTabSz="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defTabSz="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defTabSz="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defTabSz="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jpeg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hyperlink" Target="http://www.pptbz.com/pptpic/" TargetMode="External"/><Relationship Id="rId3" Type="http://schemas.openxmlformats.org/officeDocument/2006/relationships/audio" Target="../media/audio1.wav"/><Relationship Id="rId7" Type="http://schemas.openxmlformats.org/officeDocument/2006/relationships/image" Target="../media/image49.png"/><Relationship Id="rId12" Type="http://schemas.openxmlformats.org/officeDocument/2006/relationships/hyperlink" Target="http://www.pptbz.com/pptshucai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pptbz.com/" TargetMode="External"/><Relationship Id="rId11" Type="http://schemas.openxmlformats.org/officeDocument/2006/relationships/image" Target="../media/image53.png"/><Relationship Id="rId5" Type="http://schemas.openxmlformats.org/officeDocument/2006/relationships/image" Target="../media/image48.png"/><Relationship Id="rId15" Type="http://schemas.openxmlformats.org/officeDocument/2006/relationships/image" Target="../media/image54.png"/><Relationship Id="rId10" Type="http://schemas.openxmlformats.org/officeDocument/2006/relationships/image" Target="../media/image52.png"/><Relationship Id="rId4" Type="http://schemas.openxmlformats.org/officeDocument/2006/relationships/image" Target="../media/image47.jpeg"/><Relationship Id="rId9" Type="http://schemas.openxmlformats.org/officeDocument/2006/relationships/image" Target="../media/image51.png"/><Relationship Id="rId14" Type="http://schemas.openxmlformats.org/officeDocument/2006/relationships/hyperlink" Target="http://www.pptbz.com/kejia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Group 2"/>
          <p:cNvGrpSpPr>
            <a:grpSpLocks/>
          </p:cNvGrpSpPr>
          <p:nvPr/>
        </p:nvGrpSpPr>
        <p:grpSpPr bwMode="auto">
          <a:xfrm>
            <a:off x="0" y="0"/>
            <a:ext cx="9144000" cy="5969000"/>
            <a:chOff x="0" y="0"/>
            <a:chExt cx="5760" cy="3760"/>
          </a:xfrm>
        </p:grpSpPr>
        <p:sp>
          <p:nvSpPr>
            <p:cNvPr id="14359" name="Rectangle 3"/>
            <p:cNvSpPr>
              <a:spLocks noChangeArrowheads="1"/>
            </p:cNvSpPr>
            <p:nvPr/>
          </p:nvSpPr>
          <p:spPr bwMode="gray">
            <a:xfrm>
              <a:off x="0" y="0"/>
              <a:ext cx="5760" cy="1603"/>
            </a:xfrm>
            <a:prstGeom prst="rect">
              <a:avLst/>
            </a:prstGeom>
            <a:gradFill rotWithShape="1">
              <a:gsLst>
                <a:gs pos="0">
                  <a:srgbClr val="E3E3E3"/>
                </a:gs>
                <a:gs pos="100000">
                  <a:srgbClr val="B2B2B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altLang="zh-CN"/>
            </a:p>
          </p:txBody>
        </p:sp>
        <p:sp>
          <p:nvSpPr>
            <p:cNvPr id="14360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1918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 noProof="1"/>
            </a:p>
          </p:txBody>
        </p:sp>
        <p:sp>
          <p:nvSpPr>
            <p:cNvPr id="14361" name="Rectangle 25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B2B2B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 noProof="1"/>
            </a:p>
          </p:txBody>
        </p:sp>
      </p:grpSp>
      <p:cxnSp>
        <p:nvCxnSpPr>
          <p:cNvPr id="26" name="Gerade Verbindung 25"/>
          <p:cNvCxnSpPr/>
          <p:nvPr/>
        </p:nvCxnSpPr>
        <p:spPr>
          <a:xfrm rot="5400000" flipH="1" flipV="1">
            <a:off x="2189956" y="4991894"/>
            <a:ext cx="162083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39" name="Textfeld 35"/>
          <p:cNvSpPr txBox="1">
            <a:spLocks noChangeArrowheads="1"/>
          </p:cNvSpPr>
          <p:nvPr/>
        </p:nvSpPr>
        <p:spPr bwMode="auto">
          <a:xfrm>
            <a:off x="3000375" y="5053013"/>
            <a:ext cx="1665288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cxnSp>
        <p:nvCxnSpPr>
          <p:cNvPr id="24" name="Gerade Verbindung 23"/>
          <p:cNvCxnSpPr/>
          <p:nvPr/>
        </p:nvCxnSpPr>
        <p:spPr>
          <a:xfrm rot="5400000" flipH="1" flipV="1">
            <a:off x="969169" y="4793457"/>
            <a:ext cx="170338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1" name="Textfeld 24"/>
          <p:cNvSpPr txBox="1">
            <a:spLocks noChangeArrowheads="1"/>
          </p:cNvSpPr>
          <p:nvPr/>
        </p:nvSpPr>
        <p:spPr bwMode="auto">
          <a:xfrm>
            <a:off x="301625" y="4814888"/>
            <a:ext cx="1519238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46" name="Abgerundetes Rechteck 45"/>
          <p:cNvSpPr/>
          <p:nvPr/>
        </p:nvSpPr>
        <p:spPr>
          <a:xfrm>
            <a:off x="-185738" y="2544764"/>
            <a:ext cx="543310" cy="1055556"/>
          </a:xfrm>
          <a:prstGeom prst="roundRect">
            <a:avLst>
              <a:gd name="adj" fmla="val 10253"/>
            </a:avLst>
          </a:prstGeom>
          <a:blipFill>
            <a:blip r:embed="rId3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5" name="Abgerundetes Rechteck 44"/>
          <p:cNvSpPr/>
          <p:nvPr/>
        </p:nvSpPr>
        <p:spPr>
          <a:xfrm>
            <a:off x="52816" y="2544763"/>
            <a:ext cx="581373" cy="112950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3" name="Abgerundetes Rechteck 42"/>
          <p:cNvSpPr/>
          <p:nvPr/>
        </p:nvSpPr>
        <p:spPr>
          <a:xfrm>
            <a:off x="301758" y="2544763"/>
            <a:ext cx="610380" cy="1185862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2" name="Abgerundetes Rechteck 41"/>
          <p:cNvSpPr/>
          <p:nvPr/>
        </p:nvSpPr>
        <p:spPr>
          <a:xfrm>
            <a:off x="557833" y="2544763"/>
            <a:ext cx="644700" cy="1252538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Abgerundetes Rechteck 40"/>
          <p:cNvSpPr/>
          <p:nvPr/>
        </p:nvSpPr>
        <p:spPr>
          <a:xfrm>
            <a:off x="823291" y="2544763"/>
            <a:ext cx="683921" cy="1328737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Abgerundetes Rechteck 39"/>
          <p:cNvSpPr/>
          <p:nvPr/>
        </p:nvSpPr>
        <p:spPr>
          <a:xfrm>
            <a:off x="1099909" y="2544764"/>
            <a:ext cx="721508" cy="1401762"/>
          </a:xfrm>
          <a:prstGeom prst="roundRect">
            <a:avLst>
              <a:gd name="adj" fmla="val 10253"/>
            </a:avLst>
          </a:prstGeom>
          <a:blipFill>
            <a:blip r:embed="rId8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4" name="Abgerundetes Rechteck 43"/>
          <p:cNvSpPr/>
          <p:nvPr/>
        </p:nvSpPr>
        <p:spPr>
          <a:xfrm>
            <a:off x="1381430" y="2544764"/>
            <a:ext cx="754192" cy="1465262"/>
          </a:xfrm>
          <a:prstGeom prst="roundRect">
            <a:avLst>
              <a:gd name="adj" fmla="val 10253"/>
            </a:avLst>
          </a:prstGeom>
          <a:blipFill>
            <a:blip r:embed="rId9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5" name="Textfeld 7"/>
          <p:cNvSpPr txBox="1">
            <a:spLocks noChangeArrowheads="1"/>
          </p:cNvSpPr>
          <p:nvPr/>
        </p:nvSpPr>
        <p:spPr bwMode="auto">
          <a:xfrm>
            <a:off x="155575" y="174625"/>
            <a:ext cx="4332288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6000" b="1" dirty="0">
                <a:solidFill>
                  <a:srgbClr val="C40505"/>
                </a:solidFill>
                <a:latin typeface="+mn-lt"/>
                <a:ea typeface="+mn-ea"/>
              </a:rPr>
              <a:t>DOMINO</a:t>
            </a:r>
            <a:r>
              <a:rPr lang="de-DE" sz="6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/>
              </a:rPr>
              <a:t>3D</a:t>
            </a:r>
            <a:endParaRPr lang="de-DE" sz="6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</a:endParaRPr>
          </a:p>
          <a:p>
            <a:pPr>
              <a:defRPr/>
            </a:pPr>
            <a:endParaRPr lang="de-DE" sz="6000" dirty="0">
              <a:solidFill>
                <a:srgbClr val="C00000"/>
              </a:solidFill>
              <a:latin typeface="+mn-lt"/>
              <a:ea typeface="+mn-ea"/>
            </a:endParaRPr>
          </a:p>
        </p:txBody>
      </p:sp>
      <p:sp>
        <p:nvSpPr>
          <p:cNvPr id="34" name="Abgerundetes Rechteck 33"/>
          <p:cNvSpPr/>
          <p:nvPr/>
        </p:nvSpPr>
        <p:spPr>
          <a:xfrm>
            <a:off x="1663701" y="2544763"/>
            <a:ext cx="786126" cy="1527303"/>
          </a:xfrm>
          <a:prstGeom prst="roundRect">
            <a:avLst>
              <a:gd name="adj" fmla="val 10253"/>
            </a:avLst>
          </a:prstGeom>
          <a:blipFill>
            <a:blip r:embed="rId10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206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Abgerundetes Rechteck 32"/>
          <p:cNvSpPr/>
          <p:nvPr/>
        </p:nvSpPr>
        <p:spPr>
          <a:xfrm>
            <a:off x="1977972" y="2544763"/>
            <a:ext cx="840713" cy="1633358"/>
          </a:xfrm>
          <a:prstGeom prst="roundRect">
            <a:avLst>
              <a:gd name="adj" fmla="val 10253"/>
            </a:avLst>
          </a:prstGeom>
          <a:blipFill>
            <a:blip r:embed="rId11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333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Abgerundetes Rechteck 31"/>
          <p:cNvSpPr/>
          <p:nvPr/>
        </p:nvSpPr>
        <p:spPr>
          <a:xfrm>
            <a:off x="2362200" y="2544762"/>
            <a:ext cx="885902" cy="1721151"/>
          </a:xfrm>
          <a:prstGeom prst="roundRect">
            <a:avLst>
              <a:gd name="adj" fmla="val 10253"/>
            </a:avLst>
          </a:prstGeom>
          <a:blipFill>
            <a:blip r:embed="rId12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651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Abgerundetes Rechteck 30"/>
          <p:cNvSpPr/>
          <p:nvPr/>
        </p:nvSpPr>
        <p:spPr>
          <a:xfrm>
            <a:off x="2808175" y="2544763"/>
            <a:ext cx="940492" cy="1827212"/>
          </a:xfrm>
          <a:prstGeom prst="roundRect">
            <a:avLst>
              <a:gd name="adj" fmla="val 10253"/>
            </a:avLst>
          </a:prstGeom>
          <a:blipFill>
            <a:blip r:embed="rId13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651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Abgerundetes Rechteck 29"/>
          <p:cNvSpPr/>
          <p:nvPr/>
        </p:nvSpPr>
        <p:spPr>
          <a:xfrm>
            <a:off x="3318546" y="2544763"/>
            <a:ext cx="1004226" cy="1951037"/>
          </a:xfrm>
          <a:prstGeom prst="roundRect">
            <a:avLst>
              <a:gd name="adj" fmla="val 10253"/>
            </a:avLst>
          </a:prstGeom>
          <a:blipFill>
            <a:blip r:embed="rId14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Abgerundetes Rechteck 28"/>
          <p:cNvSpPr/>
          <p:nvPr/>
        </p:nvSpPr>
        <p:spPr>
          <a:xfrm>
            <a:off x="3885297" y="2544763"/>
            <a:ext cx="1085121" cy="2108200"/>
          </a:xfrm>
          <a:prstGeom prst="roundRect">
            <a:avLst>
              <a:gd name="adj" fmla="val 10253"/>
            </a:avLst>
          </a:prstGeom>
          <a:blipFill>
            <a:blip r:embed="rId15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Abgerundetes Rechteck 27"/>
          <p:cNvSpPr/>
          <p:nvPr/>
        </p:nvSpPr>
        <p:spPr>
          <a:xfrm>
            <a:off x="4520687" y="2544764"/>
            <a:ext cx="1170917" cy="2274886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Abgerundetes Rechteck 26"/>
          <p:cNvSpPr/>
          <p:nvPr/>
        </p:nvSpPr>
        <p:spPr>
          <a:xfrm>
            <a:off x="5219746" y="2544763"/>
            <a:ext cx="1280470" cy="2487728"/>
          </a:xfrm>
          <a:prstGeom prst="roundRect">
            <a:avLst>
              <a:gd name="adj" fmla="val 10253"/>
            </a:avLst>
          </a:prstGeom>
          <a:blipFill>
            <a:blip r:embed="rId17" cstate="print"/>
            <a:stretch>
              <a:fillRect/>
            </a:stretch>
          </a:blip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perspectiveHeroicExtremeLeftFacing" fov="6300000">
              <a:rot lat="274934" lon="18154169" rev="0"/>
            </a:camera>
            <a:lightRig rig="balanced" dir="t">
              <a:rot lat="0" lon="0" rev="12600000"/>
            </a:lightRig>
          </a:scene3d>
          <a:sp3d z="25400" extrusionH="1905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9" name="Rechteck 48"/>
          <p:cNvSpPr/>
          <p:nvPr/>
        </p:nvSpPr>
        <p:spPr>
          <a:xfrm>
            <a:off x="4709369" y="3785961"/>
            <a:ext cx="7352211" cy="286105"/>
          </a:xfrm>
          <a:prstGeom prst="rect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scene3d>
            <a:camera prst="perspectiveRelaxedModerately" fov="6300000">
              <a:rot lat="20197384" lon="17616315" rev="4715054"/>
            </a:camera>
            <a:lightRig rig="threePt" dir="t"/>
          </a:scene3d>
        </p:spPr>
        <p:txBody>
          <a:bodyPr/>
          <a:lstStyle/>
          <a:p>
            <a:pPr>
              <a:defRPr/>
            </a:pPr>
            <a:endParaRPr lang="de-DE"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5" name="Group 23"/>
          <p:cNvGrpSpPr>
            <a:grpSpLocks/>
          </p:cNvGrpSpPr>
          <p:nvPr/>
        </p:nvGrpSpPr>
        <p:grpSpPr bwMode="auto">
          <a:xfrm>
            <a:off x="150813" y="2386013"/>
            <a:ext cx="9144000" cy="2330450"/>
            <a:chOff x="0" y="2086"/>
            <a:chExt cx="5760" cy="1056"/>
          </a:xfrm>
        </p:grpSpPr>
        <p:sp>
          <p:nvSpPr>
            <p:cNvPr id="1642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 noProof="1"/>
            </a:p>
          </p:txBody>
        </p:sp>
        <p:sp>
          <p:nvSpPr>
            <p:cNvPr id="16427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 noProof="1"/>
            </a:p>
          </p:txBody>
        </p:sp>
      </p:grpSp>
      <p:cxnSp>
        <p:nvCxnSpPr>
          <p:cNvPr id="35" name="Gerade Verbindung 34"/>
          <p:cNvCxnSpPr/>
          <p:nvPr/>
        </p:nvCxnSpPr>
        <p:spPr>
          <a:xfrm rot="5400000" flipH="1" flipV="1">
            <a:off x="2263775" y="5037138"/>
            <a:ext cx="153035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87" name="Textfeld 37"/>
          <p:cNvSpPr txBox="1">
            <a:spLocks noChangeArrowheads="1"/>
          </p:cNvSpPr>
          <p:nvPr/>
        </p:nvSpPr>
        <p:spPr bwMode="auto">
          <a:xfrm>
            <a:off x="1206500" y="4786313"/>
            <a:ext cx="18224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e text demonstrates how your own text will look when you replace the placeholder </a:t>
            </a:r>
            <a:br>
              <a:rPr lang="en-US" altLang="zh-CN" sz="1200" noProof="1">
                <a:solidFill>
                  <a:srgbClr val="080808"/>
                </a:solidFill>
              </a:rPr>
            </a:br>
            <a:r>
              <a:rPr lang="en-US" altLang="zh-CN" sz="1200" noProof="1">
                <a:solidFill>
                  <a:srgbClr val="080808"/>
                </a:solidFill>
              </a:rPr>
              <a:t>with your own text.</a:t>
            </a:r>
          </a:p>
        </p:txBody>
      </p:sp>
      <p:pic>
        <p:nvPicPr>
          <p:cNvPr id="16388" name="Picture 33"/>
          <p:cNvPicPr>
            <a:picLocks noChangeAspect="1" noChangeArrowheads="1"/>
          </p:cNvPicPr>
          <p:nvPr/>
        </p:nvPicPr>
        <p:blipFill>
          <a:blip r:embed="rId3">
            <a:lum bright="18000"/>
          </a:blip>
          <a:srcRect/>
          <a:stretch>
            <a:fillRect/>
          </a:stretch>
        </p:blipFill>
        <p:spPr bwMode="auto">
          <a:xfrm rot="986552">
            <a:off x="3409950" y="3695700"/>
            <a:ext cx="4530725" cy="169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Picture 33"/>
          <p:cNvPicPr>
            <a:picLocks noChangeAspect="1" noChangeArrowheads="1"/>
          </p:cNvPicPr>
          <p:nvPr/>
        </p:nvPicPr>
        <p:blipFill>
          <a:blip r:embed="rId3">
            <a:lum bright="18000"/>
          </a:blip>
          <a:srcRect/>
          <a:stretch>
            <a:fillRect/>
          </a:stretch>
        </p:blipFill>
        <p:spPr bwMode="auto">
          <a:xfrm rot="644308">
            <a:off x="1146175" y="3397250"/>
            <a:ext cx="4530725" cy="133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33"/>
          <p:cNvPicPr>
            <a:picLocks noChangeAspect="1" noChangeArrowheads="1"/>
          </p:cNvPicPr>
          <p:nvPr/>
        </p:nvPicPr>
        <p:blipFill>
          <a:blip r:embed="rId3">
            <a:lum bright="18000"/>
          </a:blip>
          <a:srcRect/>
          <a:stretch>
            <a:fillRect/>
          </a:stretch>
        </p:blipFill>
        <p:spPr bwMode="auto">
          <a:xfrm rot="644308">
            <a:off x="-982663" y="2927350"/>
            <a:ext cx="4529138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1" name="Picture 33"/>
          <p:cNvPicPr>
            <a:picLocks noChangeAspect="1" noChangeArrowheads="1"/>
          </p:cNvPicPr>
          <p:nvPr/>
        </p:nvPicPr>
        <p:blipFill>
          <a:blip r:embed="rId3">
            <a:lum bright="18000"/>
          </a:blip>
          <a:srcRect/>
          <a:stretch>
            <a:fillRect/>
          </a:stretch>
        </p:blipFill>
        <p:spPr bwMode="auto">
          <a:xfrm rot="986552">
            <a:off x="5465763" y="3973513"/>
            <a:ext cx="4530725" cy="169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2" name="Rectangle 2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zh-CN" smtClean="0">
                <a:ea typeface="宋体" charset="-122"/>
              </a:rPr>
              <a:t>Domino</a:t>
            </a:r>
          </a:p>
        </p:txBody>
      </p:sp>
      <p:sp>
        <p:nvSpPr>
          <p:cNvPr id="16393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en-GB" altLang="zh-CN" sz="2000"/>
              <a:t>Placeholder for your own sub headline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-114300" y="2472383"/>
            <a:ext cx="577529" cy="1122040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5335" lon="17251491" rev="0"/>
            </a:camera>
            <a:lightRig rig="balanced" dir="t">
              <a:rot lat="0" lon="0" rev="12600000"/>
            </a:lightRig>
          </a:scene3d>
          <a:sp3d z="25400" extrusionH="762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58" name="Abgerundetes Rechteck 57"/>
          <p:cNvSpPr/>
          <p:nvPr/>
        </p:nvSpPr>
        <p:spPr>
          <a:xfrm>
            <a:off x="150648" y="2481907"/>
            <a:ext cx="584885" cy="1136330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4400" lon="17552246" rev="0"/>
            </a:camera>
            <a:lightRig rig="balanced" dir="t">
              <a:rot lat="0" lon="0" rev="12600000"/>
            </a:lightRig>
          </a:scene3d>
          <a:sp3d z="25400" extrusionH="825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59" name="Abgerundetes Rechteck 58"/>
          <p:cNvSpPr/>
          <p:nvPr/>
        </p:nvSpPr>
        <p:spPr>
          <a:xfrm>
            <a:off x="420245" y="2508285"/>
            <a:ext cx="605145" cy="1175690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3468" lon="17853005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0" name="Abgerundetes Rechteck 59"/>
          <p:cNvSpPr/>
          <p:nvPr/>
        </p:nvSpPr>
        <p:spPr>
          <a:xfrm>
            <a:off x="657150" y="2569096"/>
            <a:ext cx="624757" cy="1213791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36706" lon="17825420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1" name="Abgerundetes Rechteck 60"/>
          <p:cNvSpPr/>
          <p:nvPr/>
        </p:nvSpPr>
        <p:spPr>
          <a:xfrm>
            <a:off x="899807" y="2648223"/>
            <a:ext cx="639466" cy="1242365"/>
          </a:xfrm>
          <a:prstGeom prst="roundRect">
            <a:avLst>
              <a:gd name="adj" fmla="val 10253"/>
            </a:avLst>
          </a:prstGeom>
          <a:blipFill>
            <a:blip r:embed="rId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1533" lon="17825354" rev="21563991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2" name="Abgerundetes Rechteck 61"/>
          <p:cNvSpPr/>
          <p:nvPr/>
        </p:nvSpPr>
        <p:spPr>
          <a:xfrm>
            <a:off x="1151700" y="2680097"/>
            <a:ext cx="663872" cy="1289789"/>
          </a:xfrm>
          <a:prstGeom prst="roundRect">
            <a:avLst>
              <a:gd name="adj" fmla="val 10253"/>
            </a:avLst>
          </a:prstGeom>
          <a:blipFill>
            <a:blip r:embed="rId9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45335" lon="17251491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63" name="Abgerundetes Rechteck 62"/>
          <p:cNvSpPr/>
          <p:nvPr/>
        </p:nvSpPr>
        <p:spPr>
          <a:xfrm>
            <a:off x="1460945" y="2726213"/>
            <a:ext cx="672326" cy="1306213"/>
          </a:xfrm>
          <a:prstGeom prst="roundRect">
            <a:avLst>
              <a:gd name="adj" fmla="val 10253"/>
            </a:avLst>
          </a:prstGeom>
          <a:blipFill>
            <a:blip r:embed="rId10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67735" lon="18225198" rev="21505824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2" name="Abgerundetes Rechteck 91"/>
          <p:cNvSpPr/>
          <p:nvPr/>
        </p:nvSpPr>
        <p:spPr>
          <a:xfrm>
            <a:off x="1717140" y="2923769"/>
            <a:ext cx="710910" cy="1381171"/>
          </a:xfrm>
          <a:prstGeom prst="roundRect">
            <a:avLst>
              <a:gd name="adj" fmla="val 10253"/>
            </a:avLst>
          </a:prstGeom>
          <a:blipFill>
            <a:blip r:embed="rId11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74226" lon="18255420" rev="21509049"/>
            </a:camera>
            <a:lightRig rig="balanced" dir="t">
              <a:rot lat="0" lon="0" rev="12600000"/>
            </a:lightRig>
          </a:scene3d>
          <a:sp3d z="25400" extrusionH="762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2032766" y="3147535"/>
            <a:ext cx="719961" cy="1398761"/>
          </a:xfrm>
          <a:prstGeom prst="roundRect">
            <a:avLst>
              <a:gd name="adj" fmla="val 10253"/>
            </a:avLst>
          </a:prstGeom>
          <a:blipFill>
            <a:blip r:embed="rId12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173330" lon="18555825" rev="21508608"/>
            </a:camera>
            <a:lightRig rig="balanced" dir="t">
              <a:rot lat="0" lon="0" rev="12600000"/>
            </a:lightRig>
          </a:scene3d>
          <a:sp3d z="25400" extrusionH="8255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4" name="Abgerundetes Rechteck 93"/>
          <p:cNvSpPr/>
          <p:nvPr/>
        </p:nvSpPr>
        <p:spPr>
          <a:xfrm>
            <a:off x="2336155" y="3308818"/>
            <a:ext cx="744904" cy="1447215"/>
          </a:xfrm>
          <a:prstGeom prst="roundRect">
            <a:avLst>
              <a:gd name="adj" fmla="val 10253"/>
            </a:avLst>
          </a:prstGeom>
          <a:blipFill>
            <a:blip r:embed="rId13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3468" lon="17853005" rev="0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5" name="Abgerundetes Rechteck 94"/>
          <p:cNvSpPr/>
          <p:nvPr/>
        </p:nvSpPr>
        <p:spPr>
          <a:xfrm>
            <a:off x="2696538" y="3366922"/>
            <a:ext cx="769041" cy="1494113"/>
          </a:xfrm>
          <a:prstGeom prst="roundRect">
            <a:avLst>
              <a:gd name="adj" fmla="val 10253"/>
            </a:avLst>
          </a:prstGeom>
          <a:blipFill>
            <a:blip r:embed="rId1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751648" lon="16680842" rev="21524154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6" name="Abgerundetes Rechteck 95"/>
          <p:cNvSpPr/>
          <p:nvPr/>
        </p:nvSpPr>
        <p:spPr>
          <a:xfrm>
            <a:off x="3028509" y="3352260"/>
            <a:ext cx="787147" cy="1529289"/>
          </a:xfrm>
          <a:prstGeom prst="roundRect">
            <a:avLst>
              <a:gd name="adj" fmla="val 10253"/>
            </a:avLst>
          </a:prstGeom>
          <a:blipFill>
            <a:blip r:embed="rId1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644915" lon="16188637" rev="77286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97" name="Abgerundetes Rechteck 96"/>
          <p:cNvSpPr/>
          <p:nvPr/>
        </p:nvSpPr>
        <p:spPr>
          <a:xfrm>
            <a:off x="3317556" y="3284553"/>
            <a:ext cx="817191" cy="1587661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35013" lon="4963676" rev="191828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2" name="Abgerundetes Rechteck 101"/>
          <p:cNvSpPr/>
          <p:nvPr/>
        </p:nvSpPr>
        <p:spPr>
          <a:xfrm>
            <a:off x="4050508" y="3159126"/>
            <a:ext cx="835009" cy="1622278"/>
          </a:xfrm>
          <a:prstGeom prst="roundRect">
            <a:avLst>
              <a:gd name="adj" fmla="val 10253"/>
            </a:avLst>
          </a:prstGeom>
          <a:blipFill>
            <a:blip r:embed="rId1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497594" lon="16676578" rev="21408476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3" name="Abgerundetes Rechteck 102"/>
          <p:cNvSpPr/>
          <p:nvPr/>
        </p:nvSpPr>
        <p:spPr>
          <a:xfrm>
            <a:off x="4433575" y="3088819"/>
            <a:ext cx="845642" cy="1642937"/>
          </a:xfrm>
          <a:prstGeom prst="roundRect">
            <a:avLst>
              <a:gd name="adj" fmla="val 10253"/>
            </a:avLst>
          </a:prstGeom>
          <a:blipFill>
            <a:blip r:embed="rId1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225421" lon="17045552" rev="21464092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4" name="Abgerundetes Rechteck 103"/>
          <p:cNvSpPr/>
          <p:nvPr/>
        </p:nvSpPr>
        <p:spPr>
          <a:xfrm>
            <a:off x="4823370" y="3119335"/>
            <a:ext cx="874937" cy="1699849"/>
          </a:xfrm>
          <a:prstGeom prst="roundRect">
            <a:avLst>
              <a:gd name="adj" fmla="val 10253"/>
            </a:avLst>
          </a:prstGeom>
          <a:blipFill>
            <a:blip r:embed="rId19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3468" lon="17853005" rev="0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5" name="Abgerundetes Rechteck 104"/>
          <p:cNvSpPr/>
          <p:nvPr/>
        </p:nvSpPr>
        <p:spPr>
          <a:xfrm>
            <a:off x="5165894" y="3207256"/>
            <a:ext cx="903291" cy="1754935"/>
          </a:xfrm>
          <a:prstGeom prst="roundRect">
            <a:avLst>
              <a:gd name="adj" fmla="val 10253"/>
            </a:avLst>
          </a:prstGeom>
          <a:blipFill>
            <a:blip r:embed="rId20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36706" lon="17825418" rev="0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6" name="Abgerundetes Rechteck 105"/>
          <p:cNvSpPr/>
          <p:nvPr/>
        </p:nvSpPr>
        <p:spPr>
          <a:xfrm>
            <a:off x="5516732" y="3321659"/>
            <a:ext cx="924557" cy="1796249"/>
          </a:xfrm>
          <a:prstGeom prst="roundRect">
            <a:avLst>
              <a:gd name="adj" fmla="val 10253"/>
            </a:avLst>
          </a:prstGeom>
          <a:blipFill>
            <a:blip r:embed="rId21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1513" lon="17819263" rev="21558905"/>
            </a:camera>
            <a:lightRig rig="balanced" dir="t">
              <a:rot lat="0" lon="0" rev="12600000"/>
            </a:lightRig>
          </a:scene3d>
          <a:sp3d z="25400" extrusionH="1016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7" name="Abgerundetes Rechteck 106"/>
          <p:cNvSpPr/>
          <p:nvPr/>
        </p:nvSpPr>
        <p:spPr>
          <a:xfrm>
            <a:off x="5865687" y="3375363"/>
            <a:ext cx="959844" cy="1864812"/>
          </a:xfrm>
          <a:prstGeom prst="roundRect">
            <a:avLst>
              <a:gd name="adj" fmla="val 10253"/>
            </a:avLst>
          </a:prstGeom>
          <a:blipFill>
            <a:blip r:embed="rId22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45335" lon="17251491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08" name="Abgerundetes Rechteck 107"/>
          <p:cNvSpPr/>
          <p:nvPr/>
        </p:nvSpPr>
        <p:spPr>
          <a:xfrm>
            <a:off x="6267083" y="3434419"/>
            <a:ext cx="972069" cy="1888561"/>
          </a:xfrm>
          <a:prstGeom prst="roundRect">
            <a:avLst>
              <a:gd name="adj" fmla="val 10253"/>
            </a:avLst>
          </a:prstGeom>
          <a:blipFill>
            <a:blip r:embed="rId23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38558" lon="17223837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0" name="Abgerundetes Rechteck 109"/>
          <p:cNvSpPr/>
          <p:nvPr/>
        </p:nvSpPr>
        <p:spPr>
          <a:xfrm>
            <a:off x="6713654" y="3446533"/>
            <a:ext cx="1027852" cy="1996938"/>
          </a:xfrm>
          <a:prstGeom prst="roundRect">
            <a:avLst>
              <a:gd name="adj" fmla="val 10253"/>
            </a:avLst>
          </a:prstGeom>
          <a:blipFill>
            <a:blip r:embed="rId2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5335" lon="17251491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1" name="Abgerundetes Rechteck 110"/>
          <p:cNvSpPr/>
          <p:nvPr/>
        </p:nvSpPr>
        <p:spPr>
          <a:xfrm>
            <a:off x="7185189" y="3463485"/>
            <a:ext cx="1040943" cy="2022369"/>
          </a:xfrm>
          <a:prstGeom prst="roundRect">
            <a:avLst>
              <a:gd name="adj" fmla="val 10253"/>
            </a:avLst>
          </a:prstGeom>
          <a:blipFill>
            <a:blip r:embed="rId25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4401" lon="17552246" rev="0"/>
            </a:camera>
            <a:lightRig rig="balanced" dir="t">
              <a:rot lat="0" lon="0" rev="12600000"/>
            </a:lightRig>
          </a:scene3d>
          <a:sp3d z="25400" extrusionH="1270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2" name="Abgerundetes Rechteck 111"/>
          <p:cNvSpPr/>
          <p:nvPr/>
        </p:nvSpPr>
        <p:spPr>
          <a:xfrm>
            <a:off x="7665005" y="3510425"/>
            <a:ext cx="1077002" cy="2092425"/>
          </a:xfrm>
          <a:prstGeom prst="roundRect">
            <a:avLst>
              <a:gd name="adj" fmla="val 10253"/>
            </a:avLst>
          </a:prstGeom>
          <a:blipFill>
            <a:blip r:embed="rId2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3468" lon="17853005" rev="0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3" name="Abgerundetes Rechteck 112"/>
          <p:cNvSpPr/>
          <p:nvPr/>
        </p:nvSpPr>
        <p:spPr>
          <a:xfrm>
            <a:off x="8086636" y="3618654"/>
            <a:ext cx="1111904" cy="2160231"/>
          </a:xfrm>
          <a:prstGeom prst="roundRect">
            <a:avLst>
              <a:gd name="adj" fmla="val 10253"/>
            </a:avLst>
          </a:prstGeom>
          <a:blipFill>
            <a:blip r:embed="rId27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36706" lon="17825417" rev="0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114" name="Abgerundetes Rechteck 113"/>
          <p:cNvSpPr/>
          <p:nvPr/>
        </p:nvSpPr>
        <p:spPr>
          <a:xfrm>
            <a:off x="8518503" y="3759480"/>
            <a:ext cx="1138081" cy="2211088"/>
          </a:xfrm>
          <a:prstGeom prst="roundRect">
            <a:avLst>
              <a:gd name="adj" fmla="val 10253"/>
            </a:avLst>
          </a:prstGeom>
          <a:blipFill>
            <a:blip r:embed="rId28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841488" lon="17811085" rev="21551708"/>
            </a:camera>
            <a:lightRig rig="balanced" dir="t">
              <a:rot lat="0" lon="0" rev="12600000"/>
            </a:lightRig>
          </a:scene3d>
          <a:sp3d z="25400" extrusionH="1524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sp>
        <p:nvSpPr>
          <p:cNvPr id="46" name="Abgerundetes Rechteck 45"/>
          <p:cNvSpPr/>
          <p:nvPr/>
        </p:nvSpPr>
        <p:spPr>
          <a:xfrm>
            <a:off x="3694462" y="3192689"/>
            <a:ext cx="817191" cy="1587661"/>
          </a:xfrm>
          <a:prstGeom prst="roundRect">
            <a:avLst>
              <a:gd name="adj" fmla="val 10253"/>
            </a:avLst>
          </a:prstGeom>
          <a:blipFill>
            <a:blip r:embed="rId16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03017" lon="5434512" rev="21570401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de-DE"/>
          </a:p>
        </p:txBody>
      </p:sp>
      <p:cxnSp>
        <p:nvCxnSpPr>
          <p:cNvPr id="34" name="Gerade Verbindung 33"/>
          <p:cNvCxnSpPr/>
          <p:nvPr/>
        </p:nvCxnSpPr>
        <p:spPr>
          <a:xfrm rot="5400000" flipH="1" flipV="1">
            <a:off x="6380957" y="2455069"/>
            <a:ext cx="183991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/>
        </p:nvCxnSpPr>
        <p:spPr>
          <a:xfrm rot="5400000" flipH="1" flipV="1">
            <a:off x="972344" y="2102644"/>
            <a:ext cx="113506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/>
        </p:nvCxnSpPr>
        <p:spPr>
          <a:xfrm rot="5400000" flipH="1" flipV="1">
            <a:off x="4186238" y="2290763"/>
            <a:ext cx="15113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3" name="Textfeld 38"/>
          <p:cNvSpPr txBox="1">
            <a:spLocks noChangeArrowheads="1"/>
          </p:cNvSpPr>
          <p:nvPr/>
        </p:nvSpPr>
        <p:spPr bwMode="auto">
          <a:xfrm>
            <a:off x="1539875" y="1555750"/>
            <a:ext cx="15192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16424" name="Textfeld 39"/>
          <p:cNvSpPr txBox="1">
            <a:spLocks noChangeArrowheads="1"/>
          </p:cNvSpPr>
          <p:nvPr/>
        </p:nvSpPr>
        <p:spPr bwMode="auto">
          <a:xfrm>
            <a:off x="4941888" y="1555750"/>
            <a:ext cx="15208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  <p:sp>
        <p:nvSpPr>
          <p:cNvPr id="16425" name="Textfeld 40"/>
          <p:cNvSpPr txBox="1">
            <a:spLocks noChangeArrowheads="1"/>
          </p:cNvSpPr>
          <p:nvPr/>
        </p:nvSpPr>
        <p:spPr bwMode="auto">
          <a:xfrm>
            <a:off x="7300913" y="1555750"/>
            <a:ext cx="1519237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altLang="zh-CN" sz="1200" noProof="1">
                <a:solidFill>
                  <a:srgbClr val="080808"/>
                </a:solidFill>
              </a:rPr>
              <a:t>This is placeholder text. All phrases can be replaced with your own text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3" name="Group 10"/>
          <p:cNvGrpSpPr>
            <a:grpSpLocks/>
          </p:cNvGrpSpPr>
          <p:nvPr/>
        </p:nvGrpSpPr>
        <p:grpSpPr bwMode="auto">
          <a:xfrm>
            <a:off x="3175" y="0"/>
            <a:ext cx="9144000" cy="5886450"/>
            <a:chOff x="0" y="0"/>
            <a:chExt cx="5760" cy="3747"/>
          </a:xfrm>
        </p:grpSpPr>
        <p:sp>
          <p:nvSpPr>
            <p:cNvPr id="63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67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69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7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</p:grpSp>
      <p:sp>
        <p:nvSpPr>
          <p:cNvPr id="18434" name="Titel 7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smtClean="0">
                <a:solidFill>
                  <a:schemeClr val="bg1"/>
                </a:solidFill>
                <a:ea typeface="宋体" charset="-122"/>
              </a:rPr>
              <a:t>Domino</a:t>
            </a:r>
          </a:p>
        </p:txBody>
      </p:sp>
      <p:pic>
        <p:nvPicPr>
          <p:cNvPr id="65" name="Picture 33"/>
          <p:cNvPicPr>
            <a:picLocks noChangeAspect="1" noChangeArrowheads="1"/>
          </p:cNvPicPr>
          <p:nvPr/>
        </p:nvPicPr>
        <p:blipFill>
          <a:blip r:embed="rId2" cstate="print">
            <a:lum bright="18000"/>
          </a:blip>
          <a:srcRect/>
          <a:stretch>
            <a:fillRect/>
          </a:stretch>
        </p:blipFill>
        <p:spPr bwMode="auto">
          <a:xfrm rot="18520356" flipH="1">
            <a:off x="1125919" y="3113644"/>
            <a:ext cx="3703785" cy="1122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>
              <a:rot lat="0" lon="0" rev="18000000"/>
            </a:lightRig>
          </a:scene3d>
        </p:spPr>
      </p:pic>
      <p:pic>
        <p:nvPicPr>
          <p:cNvPr id="18436" name="Picture 33"/>
          <p:cNvPicPr>
            <a:picLocks noChangeAspect="1" noChangeArrowheads="1"/>
          </p:cNvPicPr>
          <p:nvPr/>
        </p:nvPicPr>
        <p:blipFill>
          <a:blip r:embed="rId3">
            <a:lum bright="18000"/>
          </a:blip>
          <a:srcRect/>
          <a:stretch>
            <a:fillRect/>
          </a:stretch>
        </p:blipFill>
        <p:spPr bwMode="auto">
          <a:xfrm>
            <a:off x="1343025" y="4421188"/>
            <a:ext cx="6684963" cy="112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33"/>
          <p:cNvPicPr>
            <a:picLocks noChangeAspect="1" noChangeArrowheads="1"/>
          </p:cNvPicPr>
          <p:nvPr/>
        </p:nvPicPr>
        <p:blipFill>
          <a:blip r:embed="rId2" cstate="print">
            <a:lum bright="18000"/>
          </a:blip>
          <a:srcRect/>
          <a:stretch>
            <a:fillRect/>
          </a:stretch>
        </p:blipFill>
        <p:spPr bwMode="auto">
          <a:xfrm rot="20036928" flipH="1">
            <a:off x="1954145" y="3554983"/>
            <a:ext cx="4407338" cy="1433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>
              <a:rot lat="0" lon="0" rev="18000000"/>
            </a:lightRig>
          </a:scene3d>
        </p:spPr>
      </p:pic>
      <p:pic>
        <p:nvPicPr>
          <p:cNvPr id="18438" name="Picture 33"/>
          <p:cNvPicPr>
            <a:picLocks noChangeAspect="1" noChangeArrowheads="1"/>
          </p:cNvPicPr>
          <p:nvPr/>
        </p:nvPicPr>
        <p:blipFill>
          <a:blip r:embed="rId2">
            <a:lum bright="18000"/>
          </a:blip>
          <a:srcRect/>
          <a:stretch>
            <a:fillRect/>
          </a:stretch>
        </p:blipFill>
        <p:spPr bwMode="auto">
          <a:xfrm rot="20036928" flipH="1">
            <a:off x="-222250" y="4489450"/>
            <a:ext cx="4406900" cy="1433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" name="Abgerundetes Rechteck 90"/>
          <p:cNvSpPr/>
          <p:nvPr/>
        </p:nvSpPr>
        <p:spPr>
          <a:xfrm>
            <a:off x="4781167" y="301471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2" name="Abgerundetes Rechteck 91"/>
          <p:cNvSpPr/>
          <p:nvPr/>
        </p:nvSpPr>
        <p:spPr>
          <a:xfrm>
            <a:off x="4495368" y="314103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3" name="Abgerundetes Rechteck 92"/>
          <p:cNvSpPr/>
          <p:nvPr/>
        </p:nvSpPr>
        <p:spPr>
          <a:xfrm>
            <a:off x="4209569" y="326735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6" name="Abgerundetes Rechteck 85"/>
          <p:cNvSpPr/>
          <p:nvPr/>
        </p:nvSpPr>
        <p:spPr>
          <a:xfrm>
            <a:off x="3084691" y="207747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7" name="Abgerundetes Rechteck 86"/>
          <p:cNvSpPr/>
          <p:nvPr/>
        </p:nvSpPr>
        <p:spPr>
          <a:xfrm>
            <a:off x="3015449" y="224757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8" name="Abgerundetes Rechteck 87"/>
          <p:cNvSpPr/>
          <p:nvPr/>
        </p:nvSpPr>
        <p:spPr>
          <a:xfrm>
            <a:off x="2920797" y="24226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9" name="Abgerundetes Rechteck 88"/>
          <p:cNvSpPr/>
          <p:nvPr/>
        </p:nvSpPr>
        <p:spPr>
          <a:xfrm>
            <a:off x="2851555" y="25927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3" name="Abgerundetes Rechteck 82"/>
          <p:cNvSpPr/>
          <p:nvPr/>
        </p:nvSpPr>
        <p:spPr>
          <a:xfrm>
            <a:off x="2773687" y="275899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4" name="Abgerundetes Rechteck 83"/>
          <p:cNvSpPr/>
          <p:nvPr/>
        </p:nvSpPr>
        <p:spPr>
          <a:xfrm>
            <a:off x="2704445" y="292909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1" name="Abgerundetes Rechteck 80"/>
          <p:cNvSpPr/>
          <p:nvPr/>
        </p:nvSpPr>
        <p:spPr>
          <a:xfrm>
            <a:off x="2609793" y="31041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9" name="Abgerundetes Rechteck 78"/>
          <p:cNvSpPr/>
          <p:nvPr/>
        </p:nvSpPr>
        <p:spPr>
          <a:xfrm>
            <a:off x="2540551" y="32742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77892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7" name="Abgerundetes Rechteck 76"/>
          <p:cNvSpPr/>
          <p:nvPr/>
        </p:nvSpPr>
        <p:spPr>
          <a:xfrm>
            <a:off x="2411161" y="34640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16432" lon="1471294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8" name="Abgerundetes Rechteck 47"/>
          <p:cNvSpPr/>
          <p:nvPr/>
        </p:nvSpPr>
        <p:spPr>
          <a:xfrm>
            <a:off x="3944650" y="342649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7" name="Abgerundetes Rechteck 46"/>
          <p:cNvSpPr/>
          <p:nvPr/>
        </p:nvSpPr>
        <p:spPr>
          <a:xfrm>
            <a:off x="3658851" y="355281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0" name="Abgerundetes Rechteck 49"/>
          <p:cNvSpPr/>
          <p:nvPr/>
        </p:nvSpPr>
        <p:spPr>
          <a:xfrm>
            <a:off x="3373052" y="367914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1" name="Abgerundetes Rechteck 50"/>
          <p:cNvSpPr/>
          <p:nvPr/>
        </p:nvSpPr>
        <p:spPr>
          <a:xfrm>
            <a:off x="3087253" y="380546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2" name="Abgerundetes Rechteck 51"/>
          <p:cNvSpPr/>
          <p:nvPr/>
        </p:nvSpPr>
        <p:spPr>
          <a:xfrm>
            <a:off x="2801454" y="393178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4" name="Abgerundetes Rechteck 63"/>
          <p:cNvSpPr/>
          <p:nvPr/>
        </p:nvSpPr>
        <p:spPr>
          <a:xfrm>
            <a:off x="2248922" y="366185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47471" lon="2167261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6" name="Abgerundetes Rechteck 45"/>
          <p:cNvSpPr/>
          <p:nvPr/>
        </p:nvSpPr>
        <p:spPr>
          <a:xfrm>
            <a:off x="2290163" y="3964526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8458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altLang="zh-CN" sz="2000" noProof="1">
                <a:solidFill>
                  <a:schemeClr val="bg1"/>
                </a:solidFill>
              </a:rPr>
              <a:t>Placeholder for your own sub headline</a:t>
            </a:r>
            <a:endParaRPr lang="de-DE" altLang="zh-CN">
              <a:solidFill>
                <a:schemeClr val="bg1"/>
              </a:solidFill>
            </a:endParaRPr>
          </a:p>
        </p:txBody>
      </p:sp>
      <p:sp>
        <p:nvSpPr>
          <p:cNvPr id="30" name="Abgerundetes Rechteck 29"/>
          <p:cNvSpPr/>
          <p:nvPr/>
        </p:nvSpPr>
        <p:spPr>
          <a:xfrm>
            <a:off x="2238309" y="420846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Abgerundetes Rechteck 30"/>
          <p:cNvSpPr/>
          <p:nvPr/>
        </p:nvSpPr>
        <p:spPr>
          <a:xfrm>
            <a:off x="1952510" y="433479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Abgerundetes Rechteck 31"/>
          <p:cNvSpPr/>
          <p:nvPr/>
        </p:nvSpPr>
        <p:spPr>
          <a:xfrm>
            <a:off x="1666711" y="446111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4" name="Abgerundetes Rechteck 43"/>
          <p:cNvSpPr/>
          <p:nvPr/>
        </p:nvSpPr>
        <p:spPr>
          <a:xfrm>
            <a:off x="1380912" y="458743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8" name="Abgerundetes Rechteck 57"/>
          <p:cNvSpPr/>
          <p:nvPr/>
        </p:nvSpPr>
        <p:spPr>
          <a:xfrm>
            <a:off x="1095113" y="47137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9" name="Abgerundetes Rechteck 58"/>
          <p:cNvSpPr/>
          <p:nvPr/>
        </p:nvSpPr>
        <p:spPr>
          <a:xfrm>
            <a:off x="790846" y="4858638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0" name="Abgerundetes Rechteck 69"/>
          <p:cNvSpPr/>
          <p:nvPr/>
        </p:nvSpPr>
        <p:spPr>
          <a:xfrm>
            <a:off x="4289924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1" name="Abgerundetes Rechteck 70"/>
          <p:cNvSpPr/>
          <p:nvPr/>
        </p:nvSpPr>
        <p:spPr>
          <a:xfrm>
            <a:off x="4583442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2" name="Abgerundetes Rechteck 71"/>
          <p:cNvSpPr/>
          <p:nvPr/>
        </p:nvSpPr>
        <p:spPr>
          <a:xfrm>
            <a:off x="4859708" y="40901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3" name="Abgerundetes Rechteck 72"/>
          <p:cNvSpPr/>
          <p:nvPr/>
        </p:nvSpPr>
        <p:spPr>
          <a:xfrm>
            <a:off x="5135974" y="4090161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4" name="Abgerundetes Rechteck 73"/>
          <p:cNvSpPr/>
          <p:nvPr/>
        </p:nvSpPr>
        <p:spPr>
          <a:xfrm>
            <a:off x="5421100" y="4078467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5" name="Abgerundetes Rechteck 74"/>
          <p:cNvSpPr/>
          <p:nvPr/>
        </p:nvSpPr>
        <p:spPr>
          <a:xfrm>
            <a:off x="5697366" y="406428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6" name="Abgerundetes Rechteck 75"/>
          <p:cNvSpPr/>
          <p:nvPr/>
        </p:nvSpPr>
        <p:spPr>
          <a:xfrm>
            <a:off x="5973632" y="4064283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8" name="Abgerundetes Rechteck 67"/>
          <p:cNvSpPr/>
          <p:nvPr/>
        </p:nvSpPr>
        <p:spPr>
          <a:xfrm>
            <a:off x="3968041" y="4104345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786023" lon="495507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6" name="Abgerundetes Rechteck 65"/>
          <p:cNvSpPr/>
          <p:nvPr/>
        </p:nvSpPr>
        <p:spPr>
          <a:xfrm>
            <a:off x="3605281" y="4138849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16432" lon="4262702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2" name="Abgerundetes Rechteck 61"/>
          <p:cNvSpPr/>
          <p:nvPr/>
        </p:nvSpPr>
        <p:spPr>
          <a:xfrm>
            <a:off x="3248585" y="4223344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47471" lon="3566733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0" name="Abgerundetes Rechteck 59"/>
          <p:cNvSpPr/>
          <p:nvPr/>
        </p:nvSpPr>
        <p:spPr>
          <a:xfrm>
            <a:off x="2773687" y="4231970"/>
            <a:ext cx="552532" cy="994556"/>
          </a:xfrm>
          <a:prstGeom prst="roundRect">
            <a:avLst>
              <a:gd name="adj" fmla="val 10253"/>
            </a:avLst>
          </a:prstGeom>
          <a:blipFill>
            <a:blip r:embed="rId7" cstate="print"/>
            <a:stretch>
              <a:fillRect/>
            </a:stretch>
          </a:blipFill>
          <a:ln>
            <a:noFill/>
          </a:ln>
          <a:effectLst/>
          <a:scene3d>
            <a:camera prst="orthographicFront">
              <a:rot lat="1879161" lon="2866996" rev="0"/>
            </a:camera>
            <a:lightRig rig="soft" dir="t">
              <a:rot lat="0" lon="0" rev="18000000"/>
            </a:lightRig>
          </a:scene3d>
          <a:sp3d z="25400" extrusionH="127000" prstMaterial="plastic">
            <a:extrusionClr>
              <a:srgbClr val="FFF4E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8476" name="Text Box 13"/>
          <p:cNvSpPr txBox="1">
            <a:spLocks noChangeArrowheads="1"/>
          </p:cNvSpPr>
          <p:nvPr/>
        </p:nvSpPr>
        <p:spPr bwMode="gray">
          <a:xfrm>
            <a:off x="5835650" y="1858963"/>
            <a:ext cx="3003550" cy="97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altLang="zh-CN" sz="1600" noProof="1">
                <a:solidFill>
                  <a:schemeClr val="bg1"/>
                </a:solidFill>
              </a:rPr>
              <a:t>The text demonstrates how your own text will look when you replace the placeholder </a:t>
            </a:r>
            <a:br>
              <a:rPr lang="en-US" altLang="zh-CN" sz="1600" noProof="1">
                <a:solidFill>
                  <a:schemeClr val="bg1"/>
                </a:solidFill>
              </a:rPr>
            </a:br>
            <a:r>
              <a:rPr lang="en-US" altLang="zh-CN" sz="1600" noProof="1">
                <a:solidFill>
                  <a:schemeClr val="bg1"/>
                </a:solidFill>
              </a:rPr>
              <a:t>with your own text.</a:t>
            </a:r>
          </a:p>
        </p:txBody>
      </p:sp>
      <p:sp>
        <p:nvSpPr>
          <p:cNvPr id="18477" name="Text Box 14"/>
          <p:cNvSpPr txBox="1">
            <a:spLocks noChangeArrowheads="1"/>
          </p:cNvSpPr>
          <p:nvPr/>
        </p:nvSpPr>
        <p:spPr bwMode="gray">
          <a:xfrm>
            <a:off x="6113463" y="4271963"/>
            <a:ext cx="27257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</a:rPr>
              <a:t>If you don’t want to use </a:t>
            </a:r>
            <a:br>
              <a:rPr lang="en-US" altLang="zh-CN" sz="1600" noProof="1">
                <a:solidFill>
                  <a:srgbClr val="080808"/>
                </a:solidFill>
              </a:rPr>
            </a:br>
            <a:r>
              <a:rPr lang="en-US" altLang="zh-CN" sz="1600" noProof="1">
                <a:solidFill>
                  <a:srgbClr val="080808"/>
                </a:solidFill>
              </a:rPr>
              <a:t>the size of the fonts as </a:t>
            </a:r>
            <a:br>
              <a:rPr lang="en-US" altLang="zh-CN" sz="1600" noProof="1">
                <a:solidFill>
                  <a:srgbClr val="080808"/>
                </a:solidFill>
              </a:rPr>
            </a:br>
            <a:r>
              <a:rPr lang="en-US" altLang="zh-CN" sz="1600" noProof="1">
                <a:solidFill>
                  <a:srgbClr val="080808"/>
                </a:solidFill>
              </a:rPr>
              <a:t>used in this placeholder it </a:t>
            </a:r>
            <a:br>
              <a:rPr lang="en-US" altLang="zh-CN" sz="1600" noProof="1">
                <a:solidFill>
                  <a:srgbClr val="080808"/>
                </a:solidFill>
              </a:rPr>
            </a:br>
            <a:r>
              <a:rPr lang="en-US" altLang="zh-CN" sz="1600" noProof="1">
                <a:solidFill>
                  <a:srgbClr val="080808"/>
                </a:solidFill>
              </a:rPr>
              <a:t>is possible to replace it by selecting different options.</a:t>
            </a:r>
          </a:p>
        </p:txBody>
      </p:sp>
      <p:sp>
        <p:nvSpPr>
          <p:cNvPr id="18478" name="Text Box 19"/>
          <p:cNvSpPr txBox="1">
            <a:spLocks noChangeArrowheads="1"/>
          </p:cNvSpPr>
          <p:nvPr/>
        </p:nvSpPr>
        <p:spPr bwMode="gray">
          <a:xfrm>
            <a:off x="312738" y="1858963"/>
            <a:ext cx="270510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altLang="zh-CN" sz="1600" noProof="1">
                <a:solidFill>
                  <a:schemeClr val="bg1"/>
                </a:solidFill>
              </a:rPr>
              <a:t>This is placeholder text. </a:t>
            </a:r>
            <a:br>
              <a:rPr lang="en-US" altLang="zh-CN" sz="1600" noProof="1">
                <a:solidFill>
                  <a:schemeClr val="bg1"/>
                </a:solidFill>
              </a:rPr>
            </a:br>
            <a:r>
              <a:rPr lang="en-US" altLang="zh-CN" sz="1600" noProof="1">
                <a:solidFill>
                  <a:schemeClr val="bg1"/>
                </a:solidFill>
              </a:rPr>
              <a:t>All phrases can be replaced with your own text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7" name="Group 10"/>
          <p:cNvGrpSpPr>
            <a:grpSpLocks/>
          </p:cNvGrpSpPr>
          <p:nvPr/>
        </p:nvGrpSpPr>
        <p:grpSpPr bwMode="auto">
          <a:xfrm>
            <a:off x="3175" y="0"/>
            <a:ext cx="9144000" cy="5886450"/>
            <a:chOff x="0" y="0"/>
            <a:chExt cx="5760" cy="3747"/>
          </a:xfrm>
        </p:grpSpPr>
        <p:sp>
          <p:nvSpPr>
            <p:cNvPr id="145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146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147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  <p:sp>
          <p:nvSpPr>
            <p:cNvPr id="14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>
                <a:defRPr/>
              </a:pPr>
              <a:endParaRPr lang="de-DE" noProof="1">
                <a:solidFill>
                  <a:schemeClr val="bg1"/>
                </a:solidFill>
                <a:ea typeface="+mn-ea"/>
              </a:endParaRPr>
            </a:p>
          </p:txBody>
        </p:sp>
      </p:grpSp>
      <p:sp>
        <p:nvSpPr>
          <p:cNvPr id="19458" name="Titel 1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zh-CN" smtClean="0">
                <a:solidFill>
                  <a:schemeClr val="bg1"/>
                </a:solidFill>
                <a:ea typeface="宋体" charset="-122"/>
              </a:rPr>
              <a:t>Domino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1034002" y="1343363"/>
            <a:ext cx="4653361" cy="3690600"/>
            <a:chOff x="6935608" y="423686"/>
            <a:chExt cx="4653361" cy="3690600"/>
          </a:xfrm>
          <a:scene3d>
            <a:camera prst="perspectiveFront" fov="6300000">
              <a:rot lat="19590000" lon="1488000" rev="20778000"/>
            </a:camera>
            <a:lightRig rig="threePt" dir="t">
              <a:rot lat="0" lon="0" rev="9000000"/>
            </a:lightRig>
          </a:scene3d>
        </p:grpSpPr>
        <p:sp>
          <p:nvSpPr>
            <p:cNvPr id="121" name="Rechteck 120"/>
            <p:cNvSpPr/>
            <p:nvPr/>
          </p:nvSpPr>
          <p:spPr>
            <a:xfrm>
              <a:off x="6935609" y="744609"/>
              <a:ext cx="4328244" cy="33696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grpSp>
          <p:nvGrpSpPr>
            <p:cNvPr id="122" name="Gruppieren 90"/>
            <p:cNvGrpSpPr/>
            <p:nvPr/>
          </p:nvGrpSpPr>
          <p:grpSpPr>
            <a:xfrm>
              <a:off x="6935608" y="744609"/>
              <a:ext cx="4328245" cy="3369675"/>
              <a:chOff x="2120559" y="2089746"/>
              <a:chExt cx="4573131" cy="3369675"/>
            </a:xfrm>
          </p:grpSpPr>
          <p:cxnSp>
            <p:nvCxnSpPr>
              <p:cNvPr id="135" name="Gerade Verbindung 134"/>
              <p:cNvCxnSpPr/>
              <p:nvPr/>
            </p:nvCxnSpPr>
            <p:spPr>
              <a:xfrm>
                <a:off x="2120559" y="5459421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135"/>
              <p:cNvCxnSpPr/>
              <p:nvPr/>
            </p:nvCxnSpPr>
            <p:spPr>
              <a:xfrm>
                <a:off x="2120559" y="4978039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136"/>
              <p:cNvCxnSpPr/>
              <p:nvPr/>
            </p:nvCxnSpPr>
            <p:spPr>
              <a:xfrm>
                <a:off x="2120559" y="4496657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137"/>
              <p:cNvCxnSpPr/>
              <p:nvPr/>
            </p:nvCxnSpPr>
            <p:spPr>
              <a:xfrm>
                <a:off x="2120559" y="4015275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138"/>
              <p:cNvCxnSpPr/>
              <p:nvPr/>
            </p:nvCxnSpPr>
            <p:spPr>
              <a:xfrm>
                <a:off x="2120559" y="3533892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139"/>
              <p:cNvCxnSpPr/>
              <p:nvPr/>
            </p:nvCxnSpPr>
            <p:spPr>
              <a:xfrm>
                <a:off x="2120559" y="3052510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40"/>
              <p:cNvCxnSpPr/>
              <p:nvPr/>
            </p:nvCxnSpPr>
            <p:spPr>
              <a:xfrm>
                <a:off x="2120559" y="2571128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41"/>
              <p:cNvCxnSpPr/>
              <p:nvPr/>
            </p:nvCxnSpPr>
            <p:spPr>
              <a:xfrm>
                <a:off x="2120559" y="2089746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3" name="Gerade Verbindung 122"/>
            <p:cNvCxnSpPr/>
            <p:nvPr/>
          </p:nvCxnSpPr>
          <p:spPr>
            <a:xfrm rot="5400000">
              <a:off x="5090309" y="2268986"/>
              <a:ext cx="3690599" cy="0"/>
            </a:xfrm>
            <a:prstGeom prst="line">
              <a:avLst/>
            </a:prstGeom>
            <a:ln w="28575">
              <a:headEnd type="triangle"/>
              <a:tailEnd type="none" w="lg" len="lg"/>
            </a:ln>
            <a:sp3d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grpSp>
          <p:nvGrpSpPr>
            <p:cNvPr id="124" name="Gruppieren 91"/>
            <p:cNvGrpSpPr/>
            <p:nvPr/>
          </p:nvGrpSpPr>
          <p:grpSpPr>
            <a:xfrm>
              <a:off x="7416990" y="744608"/>
              <a:ext cx="3846863" cy="3369677"/>
              <a:chOff x="2601942" y="2009515"/>
              <a:chExt cx="3846863" cy="3449908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 rot="5400000">
                <a:off x="876988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 rot="5400000">
                <a:off x="1358370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 rot="5400000">
                <a:off x="1839752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128"/>
              <p:cNvCxnSpPr/>
              <p:nvPr/>
            </p:nvCxnSpPr>
            <p:spPr>
              <a:xfrm rot="5400000">
                <a:off x="2321135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129"/>
              <p:cNvCxnSpPr/>
              <p:nvPr/>
            </p:nvCxnSpPr>
            <p:spPr>
              <a:xfrm rot="5400000">
                <a:off x="2802517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130"/>
              <p:cNvCxnSpPr/>
              <p:nvPr/>
            </p:nvCxnSpPr>
            <p:spPr>
              <a:xfrm rot="5400000">
                <a:off x="3283899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131"/>
              <p:cNvCxnSpPr/>
              <p:nvPr/>
            </p:nvCxnSpPr>
            <p:spPr>
              <a:xfrm rot="5400000">
                <a:off x="3765281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 rot="5400000">
                <a:off x="4246663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 rot="5400000">
                <a:off x="4723851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5" name="Gerade Verbindung 124"/>
            <p:cNvCxnSpPr/>
            <p:nvPr/>
          </p:nvCxnSpPr>
          <p:spPr>
            <a:xfrm>
              <a:off x="6935608" y="4114284"/>
              <a:ext cx="4653361" cy="0"/>
            </a:xfrm>
            <a:prstGeom prst="line">
              <a:avLst/>
            </a:prstGeom>
            <a:ln>
              <a:tailEnd type="triangle" w="lg" len="lg"/>
            </a:ln>
            <a:sp3d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9460" name="Rectangle 5"/>
          <p:cNvSpPr>
            <a:spLocks noChangeArrowheads="1"/>
          </p:cNvSpPr>
          <p:nvPr/>
        </p:nvSpPr>
        <p:spPr bwMode="gray">
          <a:xfrm>
            <a:off x="6084888" y="1555750"/>
            <a:ext cx="2735262" cy="42465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altLang="zh-CN" sz="1600" noProof="1">
                <a:solidFill>
                  <a:schemeClr val="bg1"/>
                </a:solidFill>
              </a:rPr>
              <a:t>This is a placeholder text. </a:t>
            </a: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altLang="zh-CN" sz="1600" noProof="1">
                <a:solidFill>
                  <a:schemeClr val="bg1"/>
                </a:solidFill>
              </a:rPr>
              <a:t>This text can be </a:t>
            </a:r>
            <a:br>
              <a:rPr lang="en-US" altLang="zh-CN" sz="1600" noProof="1">
                <a:solidFill>
                  <a:schemeClr val="bg1"/>
                </a:solidFill>
              </a:rPr>
            </a:br>
            <a:r>
              <a:rPr lang="en-US" altLang="zh-CN" sz="1600" noProof="1">
                <a:solidFill>
                  <a:schemeClr val="bg1"/>
                </a:solidFill>
              </a:rPr>
              <a:t>replaced with your own text.</a:t>
            </a:r>
            <a:endParaRPr lang="de-DE" altLang="zh-CN" sz="1600">
              <a:solidFill>
                <a:schemeClr val="bg1"/>
              </a:solidFill>
            </a:endParaRP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altLang="zh-CN" sz="1600">
                <a:solidFill>
                  <a:schemeClr val="bg1"/>
                </a:solidFill>
              </a:rPr>
              <a:t>This is placeholder text. </a:t>
            </a:r>
            <a:br>
              <a:rPr lang="en-US" altLang="zh-CN" sz="1600">
                <a:solidFill>
                  <a:schemeClr val="bg1"/>
                </a:solidFill>
              </a:rPr>
            </a:br>
            <a:r>
              <a:rPr lang="en-US" altLang="zh-CN" sz="1600">
                <a:solidFill>
                  <a:schemeClr val="bg1"/>
                </a:solidFill>
              </a:rPr>
              <a:t>All phrases can be replaced with your own text.</a:t>
            </a: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altLang="zh-CN" sz="1600"/>
              <a:t>This is placeholder text. </a:t>
            </a:r>
            <a:br>
              <a:rPr lang="en-US" altLang="zh-CN" sz="1600"/>
            </a:br>
            <a:r>
              <a:rPr lang="en-US" altLang="zh-CN" sz="1600"/>
              <a:t>All phrases can be replaced with your own text.</a:t>
            </a: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altLang="zh-CN" sz="1600" noProof="1"/>
          </a:p>
        </p:txBody>
      </p:sp>
      <p:sp>
        <p:nvSpPr>
          <p:cNvPr id="19461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altLang="zh-CN" sz="2000" noProof="1">
                <a:solidFill>
                  <a:schemeClr val="bg1"/>
                </a:solidFill>
              </a:rPr>
              <a:t>Placeholder for your own sub headline</a:t>
            </a:r>
            <a:endParaRPr lang="de-DE" altLang="zh-CN">
              <a:solidFill>
                <a:schemeClr val="bg1"/>
              </a:solidFill>
            </a:endParaRPr>
          </a:p>
        </p:txBody>
      </p:sp>
      <p:grpSp>
        <p:nvGrpSpPr>
          <p:cNvPr id="220" name="Gruppieren 219"/>
          <p:cNvGrpSpPr/>
          <p:nvPr/>
        </p:nvGrpSpPr>
        <p:grpSpPr>
          <a:xfrm>
            <a:off x="874128" y="2571894"/>
            <a:ext cx="3824147" cy="2233745"/>
            <a:chOff x="1288468" y="3044151"/>
            <a:chExt cx="3824147" cy="2233745"/>
          </a:xfrm>
          <a:solidFill>
            <a:srgbClr val="FFEFD1"/>
          </a:solidFill>
          <a:scene3d>
            <a:camera prst="perspectiveAbove" fov="6300000">
              <a:rot lat="19590000" lon="1488000" rev="20778000"/>
            </a:camera>
            <a:lightRig rig="balanced" dir="t"/>
          </a:scene3d>
        </p:grpSpPr>
        <p:grpSp>
          <p:nvGrpSpPr>
            <p:cNvPr id="221" name="Gruppieren 267"/>
            <p:cNvGrpSpPr/>
            <p:nvPr/>
          </p:nvGrpSpPr>
          <p:grpSpPr>
            <a:xfrm>
              <a:off x="2909193" y="3044151"/>
              <a:ext cx="2203422" cy="2218636"/>
              <a:chOff x="2921860" y="3061256"/>
              <a:chExt cx="2167787" cy="2182759"/>
            </a:xfrm>
            <a:grpFill/>
          </p:grpSpPr>
          <p:grpSp>
            <p:nvGrpSpPr>
              <p:cNvPr id="251" name="Gruppieren 183"/>
              <p:cNvGrpSpPr/>
              <p:nvPr/>
            </p:nvGrpSpPr>
            <p:grpSpPr>
              <a:xfrm>
                <a:off x="2921860" y="3271123"/>
                <a:ext cx="1765788" cy="1972892"/>
                <a:chOff x="2921860" y="3271123"/>
                <a:chExt cx="1765788" cy="1972892"/>
              </a:xfrm>
              <a:grpFill/>
            </p:grpSpPr>
            <p:sp>
              <p:nvSpPr>
                <p:cNvPr id="272" name="Rechteck 271"/>
                <p:cNvSpPr/>
                <p:nvPr/>
              </p:nvSpPr>
              <p:spPr>
                <a:xfrm rot="6784894" flipV="1">
                  <a:off x="4286094" y="383479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273" name="Rechteck 272"/>
                <p:cNvSpPr/>
                <p:nvPr/>
              </p:nvSpPr>
              <p:spPr>
                <a:xfrm rot="7007404" flipV="1">
                  <a:off x="4345044" y="370682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07" name="Rechteck 306"/>
                <p:cNvSpPr/>
                <p:nvPr/>
              </p:nvSpPr>
              <p:spPr>
                <a:xfrm rot="7076969" flipV="1">
                  <a:off x="4403741" y="358580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09" name="Rechteck 308"/>
                <p:cNvSpPr/>
                <p:nvPr/>
              </p:nvSpPr>
              <p:spPr>
                <a:xfrm rot="7303156" flipV="1">
                  <a:off x="4433738" y="3531749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10" name="Rechteck 309"/>
                <p:cNvSpPr/>
                <p:nvPr/>
              </p:nvSpPr>
              <p:spPr>
                <a:xfrm rot="8737101" flipV="1">
                  <a:off x="4637775" y="327112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37" name="Rechteck 336"/>
                <p:cNvSpPr/>
                <p:nvPr/>
              </p:nvSpPr>
              <p:spPr>
                <a:xfrm rot="8095966" flipV="1">
                  <a:off x="4584922" y="3316779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38" name="Rechteck 337"/>
                <p:cNvSpPr/>
                <p:nvPr/>
              </p:nvSpPr>
              <p:spPr>
                <a:xfrm rot="7797607" flipV="1">
                  <a:off x="4544279" y="336719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39" name="Rechteck 338"/>
                <p:cNvSpPr/>
                <p:nvPr/>
              </p:nvSpPr>
              <p:spPr>
                <a:xfrm rot="7580696" flipV="1">
                  <a:off x="4505619" y="341843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0" name="Rechteck 339"/>
                <p:cNvSpPr/>
                <p:nvPr/>
              </p:nvSpPr>
              <p:spPr>
                <a:xfrm rot="6545707" flipV="1">
                  <a:off x="4237181" y="395759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1" name="Rechteck 340"/>
                <p:cNvSpPr/>
                <p:nvPr/>
              </p:nvSpPr>
              <p:spPr>
                <a:xfrm rot="6545707" flipV="1">
                  <a:off x="4175609" y="415071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2" name="Rechteck 341"/>
                <p:cNvSpPr/>
                <p:nvPr/>
              </p:nvSpPr>
              <p:spPr>
                <a:xfrm rot="6545707" flipV="1">
                  <a:off x="4155317" y="421093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3" name="Rechteck 342"/>
                <p:cNvSpPr/>
                <p:nvPr/>
              </p:nvSpPr>
              <p:spPr>
                <a:xfrm rot="6545707" flipV="1">
                  <a:off x="4115322" y="4329757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4" name="Rechteck 343"/>
                <p:cNvSpPr/>
                <p:nvPr/>
              </p:nvSpPr>
              <p:spPr>
                <a:xfrm rot="7335974" flipV="1">
                  <a:off x="4036323" y="451906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5" name="Rechteck 344"/>
                <p:cNvSpPr/>
                <p:nvPr/>
              </p:nvSpPr>
              <p:spPr>
                <a:xfrm rot="7916148" flipV="1">
                  <a:off x="3958964" y="462560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6" name="Rechteck 345"/>
                <p:cNvSpPr/>
                <p:nvPr/>
              </p:nvSpPr>
              <p:spPr>
                <a:xfrm rot="8305845" flipV="1">
                  <a:off x="3865737" y="472192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7" name="Rechteck 346"/>
                <p:cNvSpPr/>
                <p:nvPr/>
              </p:nvSpPr>
              <p:spPr>
                <a:xfrm rot="8702123" flipV="1">
                  <a:off x="3758402" y="4809097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8" name="Rechteck 347"/>
                <p:cNvSpPr/>
                <p:nvPr/>
              </p:nvSpPr>
              <p:spPr>
                <a:xfrm rot="8961370" flipV="1">
                  <a:off x="3643341" y="489081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49" name="Rechteck 348"/>
                <p:cNvSpPr/>
                <p:nvPr/>
              </p:nvSpPr>
              <p:spPr>
                <a:xfrm rot="9068426" flipV="1">
                  <a:off x="3580584" y="492816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0" name="Rechteck 349"/>
                <p:cNvSpPr/>
                <p:nvPr/>
              </p:nvSpPr>
              <p:spPr>
                <a:xfrm rot="9831014" flipV="1">
                  <a:off x="3377233" y="501820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1" name="Rechteck 350"/>
                <p:cNvSpPr/>
                <p:nvPr/>
              </p:nvSpPr>
              <p:spPr>
                <a:xfrm rot="10210369" flipV="1">
                  <a:off x="3223955" y="506024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2" name="Rechteck 351"/>
                <p:cNvSpPr/>
                <p:nvPr/>
              </p:nvSpPr>
              <p:spPr>
                <a:xfrm rot="10542155" flipV="1">
                  <a:off x="3144447" y="507189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3" name="Rechteck 352"/>
                <p:cNvSpPr/>
                <p:nvPr/>
              </p:nvSpPr>
              <p:spPr>
                <a:xfrm rot="10800000" flipV="1">
                  <a:off x="2987107" y="507965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4" name="Rechteck 353"/>
                <p:cNvSpPr/>
                <p:nvPr/>
              </p:nvSpPr>
              <p:spPr>
                <a:xfrm rot="10800000" flipV="1">
                  <a:off x="2921860" y="507965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5" name="Rechteck 354"/>
                <p:cNvSpPr/>
                <p:nvPr/>
              </p:nvSpPr>
              <p:spPr>
                <a:xfrm rot="10542155" flipV="1">
                  <a:off x="3063948" y="507808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6" name="Rechteck 355"/>
                <p:cNvSpPr/>
                <p:nvPr/>
              </p:nvSpPr>
              <p:spPr>
                <a:xfrm rot="10016017" flipV="1">
                  <a:off x="3299811" y="504166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7" name="Rechteck 356"/>
                <p:cNvSpPr/>
                <p:nvPr/>
              </p:nvSpPr>
              <p:spPr>
                <a:xfrm rot="9586220" flipV="1">
                  <a:off x="3448558" y="499050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8" name="Rechteck 357"/>
                <p:cNvSpPr/>
                <p:nvPr/>
              </p:nvSpPr>
              <p:spPr>
                <a:xfrm rot="9245101" flipV="1">
                  <a:off x="3520601" y="496006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59" name="Rechteck 358"/>
                <p:cNvSpPr/>
                <p:nvPr/>
              </p:nvSpPr>
              <p:spPr>
                <a:xfrm rot="8773964" flipV="1">
                  <a:off x="3701002" y="485425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0" name="Rechteck 359"/>
                <p:cNvSpPr/>
                <p:nvPr/>
              </p:nvSpPr>
              <p:spPr>
                <a:xfrm rot="8431631" flipV="1">
                  <a:off x="3812533" y="476513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1" name="Rechteck 360"/>
                <p:cNvSpPr/>
                <p:nvPr/>
              </p:nvSpPr>
              <p:spPr>
                <a:xfrm rot="8165892" flipV="1">
                  <a:off x="3910276" y="467806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2" name="Rechteck 361"/>
                <p:cNvSpPr/>
                <p:nvPr/>
              </p:nvSpPr>
              <p:spPr>
                <a:xfrm rot="7705987" flipV="1">
                  <a:off x="3998680" y="457874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3" name="Rechteck 362"/>
                <p:cNvSpPr/>
                <p:nvPr/>
              </p:nvSpPr>
              <p:spPr>
                <a:xfrm rot="7057723" flipV="1">
                  <a:off x="4064404" y="4458344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4" name="Rechteck 363"/>
                <p:cNvSpPr/>
                <p:nvPr/>
              </p:nvSpPr>
              <p:spPr>
                <a:xfrm rot="6842228" flipV="1">
                  <a:off x="4094954" y="439274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5" name="Rechteck 364"/>
                <p:cNvSpPr/>
                <p:nvPr/>
              </p:nvSpPr>
              <p:spPr>
                <a:xfrm rot="6545707" flipV="1">
                  <a:off x="4135019" y="426952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6" name="Rechteck 365"/>
                <p:cNvSpPr/>
                <p:nvPr/>
              </p:nvSpPr>
              <p:spPr>
                <a:xfrm rot="6545707" flipV="1">
                  <a:off x="4193482" y="4088164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7" name="Rechteck 366"/>
                <p:cNvSpPr/>
                <p:nvPr/>
              </p:nvSpPr>
              <p:spPr>
                <a:xfrm rot="6545707" flipV="1">
                  <a:off x="4216442" y="402328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8" name="Rechteck 367"/>
                <p:cNvSpPr/>
                <p:nvPr/>
              </p:nvSpPr>
              <p:spPr>
                <a:xfrm rot="6784894" flipV="1">
                  <a:off x="4260670" y="389271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69" name="Rechteck 368"/>
                <p:cNvSpPr/>
                <p:nvPr/>
              </p:nvSpPr>
              <p:spPr>
                <a:xfrm rot="7007404" flipV="1">
                  <a:off x="4314595" y="376917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70" name="Rechteck 369"/>
                <p:cNvSpPr/>
                <p:nvPr/>
              </p:nvSpPr>
              <p:spPr>
                <a:xfrm rot="7076969" flipV="1">
                  <a:off x="4374636" y="364503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371" name="Rechteck 370"/>
                <p:cNvSpPr/>
                <p:nvPr/>
              </p:nvSpPr>
              <p:spPr>
                <a:xfrm rot="7303156" flipV="1">
                  <a:off x="4468093" y="347570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</p:grpSp>
          <p:grpSp>
            <p:nvGrpSpPr>
              <p:cNvPr id="252" name="Gruppieren 212"/>
              <p:cNvGrpSpPr/>
              <p:nvPr/>
            </p:nvGrpSpPr>
            <p:grpSpPr>
              <a:xfrm rot="2229493">
                <a:off x="4350076" y="3061256"/>
                <a:ext cx="739571" cy="463342"/>
                <a:chOff x="4721684" y="2338208"/>
                <a:chExt cx="739571" cy="463342"/>
              </a:xfrm>
              <a:grpFill/>
            </p:grpSpPr>
            <p:grpSp>
              <p:nvGrpSpPr>
                <p:cNvPr id="253" name="Gruppieren 191"/>
                <p:cNvGrpSpPr/>
                <p:nvPr/>
              </p:nvGrpSpPr>
              <p:grpSpPr>
                <a:xfrm>
                  <a:off x="4721684" y="2392672"/>
                  <a:ext cx="322874" cy="355078"/>
                  <a:chOff x="4320972" y="2408604"/>
                  <a:chExt cx="322874" cy="355078"/>
                </a:xfrm>
                <a:grpFill/>
              </p:grpSpPr>
              <p:sp>
                <p:nvSpPr>
                  <p:cNvPr id="265" name="Rechteck 264"/>
                  <p:cNvSpPr/>
                  <p:nvPr/>
                </p:nvSpPr>
                <p:spPr>
                  <a:xfrm rot="8737101" flipV="1">
                    <a:off x="4320972" y="2599320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6" name="Rechteck 265"/>
                  <p:cNvSpPr/>
                  <p:nvPr/>
                </p:nvSpPr>
                <p:spPr>
                  <a:xfrm rot="8737101" flipV="1">
                    <a:off x="4414900" y="2535748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7" name="Rechteck 266"/>
                  <p:cNvSpPr/>
                  <p:nvPr/>
                </p:nvSpPr>
                <p:spPr>
                  <a:xfrm rot="8737101" flipV="1">
                    <a:off x="4508828" y="2472176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8" name="Rechteck 267"/>
                  <p:cNvSpPr/>
                  <p:nvPr/>
                </p:nvSpPr>
                <p:spPr>
                  <a:xfrm rot="8737101" flipV="1">
                    <a:off x="4602756" y="2408604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9" name="Rechteck 268"/>
                  <p:cNvSpPr/>
                  <p:nvPr/>
                </p:nvSpPr>
                <p:spPr>
                  <a:xfrm rot="8737101" flipV="1">
                    <a:off x="4367936" y="2567534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70" name="Rechteck 269"/>
                  <p:cNvSpPr/>
                  <p:nvPr/>
                </p:nvSpPr>
                <p:spPr>
                  <a:xfrm rot="8737101" flipV="1">
                    <a:off x="4461864" y="2503962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71" name="Rechteck 270"/>
                  <p:cNvSpPr/>
                  <p:nvPr/>
                </p:nvSpPr>
                <p:spPr>
                  <a:xfrm rot="8737101" flipV="1">
                    <a:off x="4555792" y="2440390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  <p:grpSp>
              <p:nvGrpSpPr>
                <p:cNvPr id="254" name="Gruppieren 210"/>
                <p:cNvGrpSpPr/>
                <p:nvPr/>
              </p:nvGrpSpPr>
              <p:grpSpPr>
                <a:xfrm>
                  <a:off x="5008064" y="2338208"/>
                  <a:ext cx="453191" cy="463342"/>
                  <a:chOff x="5010445" y="2340589"/>
                  <a:chExt cx="453191" cy="463342"/>
                </a:xfrm>
                <a:grpFill/>
              </p:grpSpPr>
              <p:sp>
                <p:nvSpPr>
                  <p:cNvPr id="255" name="Rechteck 254"/>
                  <p:cNvSpPr/>
                  <p:nvPr/>
                </p:nvSpPr>
                <p:spPr>
                  <a:xfrm rot="14137101" flipV="1">
                    <a:off x="5170194" y="241942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56" name="Rechteck 255"/>
                  <p:cNvSpPr/>
                  <p:nvPr/>
                </p:nvSpPr>
                <p:spPr>
                  <a:xfrm rot="14137101" flipV="1">
                    <a:off x="5233766" y="2513349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57" name="Rechteck 256"/>
                  <p:cNvSpPr/>
                  <p:nvPr/>
                </p:nvSpPr>
                <p:spPr>
                  <a:xfrm rot="14137101" flipV="1">
                    <a:off x="5297338" y="2607277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58" name="Rechteck 257"/>
                  <p:cNvSpPr/>
                  <p:nvPr/>
                </p:nvSpPr>
                <p:spPr>
                  <a:xfrm rot="14137101" flipV="1">
                    <a:off x="5360910" y="2701205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59" name="Rechteck 258"/>
                  <p:cNvSpPr/>
                  <p:nvPr/>
                </p:nvSpPr>
                <p:spPr>
                  <a:xfrm rot="14137101" flipV="1">
                    <a:off x="5201980" y="2466385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0" name="Rechteck 259"/>
                  <p:cNvSpPr/>
                  <p:nvPr/>
                </p:nvSpPr>
                <p:spPr>
                  <a:xfrm rot="14137101" flipV="1">
                    <a:off x="5265552" y="2560313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1" name="Rechteck 260"/>
                  <p:cNvSpPr/>
                  <p:nvPr/>
                </p:nvSpPr>
                <p:spPr>
                  <a:xfrm rot="14137101" flipV="1">
                    <a:off x="5329124" y="265424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2" name="Rechteck 261"/>
                  <p:cNvSpPr/>
                  <p:nvPr/>
                </p:nvSpPr>
                <p:spPr>
                  <a:xfrm rot="14137101" flipV="1">
                    <a:off x="5103867" y="2325917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3" name="Rechteck 262"/>
                  <p:cNvSpPr/>
                  <p:nvPr/>
                </p:nvSpPr>
                <p:spPr>
                  <a:xfrm rot="14137101" flipV="1">
                    <a:off x="5072081" y="2278953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  <p:sp>
                <p:nvSpPr>
                  <p:cNvPr id="264" name="Rechteck 263"/>
                  <p:cNvSpPr/>
                  <p:nvPr/>
                </p:nvSpPr>
                <p:spPr>
                  <a:xfrm rot="14137101" flipV="1">
                    <a:off x="5135653" y="237288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e-DE"/>
                  </a:p>
                </p:txBody>
              </p:sp>
            </p:grpSp>
          </p:grpSp>
        </p:grpSp>
        <p:grpSp>
          <p:nvGrpSpPr>
            <p:cNvPr id="222" name="Gruppieren 268"/>
            <p:cNvGrpSpPr/>
            <p:nvPr/>
          </p:nvGrpSpPr>
          <p:grpSpPr>
            <a:xfrm>
              <a:off x="1288468" y="5096195"/>
              <a:ext cx="1597725" cy="181701"/>
              <a:chOff x="1288468" y="5076193"/>
              <a:chExt cx="1597725" cy="181701"/>
            </a:xfrm>
            <a:grpFill/>
          </p:grpSpPr>
          <p:sp>
            <p:nvSpPr>
              <p:cNvPr id="228" name="Rechteck 227"/>
              <p:cNvSpPr/>
              <p:nvPr/>
            </p:nvSpPr>
            <p:spPr>
              <a:xfrm rot="10801473" flipV="1">
                <a:off x="1288468" y="509032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29" name="Rechteck 228"/>
              <p:cNvSpPr/>
              <p:nvPr/>
            </p:nvSpPr>
            <p:spPr>
              <a:xfrm rot="10801473" flipV="1">
                <a:off x="1366385" y="508989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0" name="Rechteck 229"/>
              <p:cNvSpPr/>
              <p:nvPr/>
            </p:nvSpPr>
            <p:spPr>
              <a:xfrm rot="10801473" flipV="1">
                <a:off x="1444303" y="508946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1" name="Rechteck 230"/>
              <p:cNvSpPr/>
              <p:nvPr/>
            </p:nvSpPr>
            <p:spPr>
              <a:xfrm rot="10801473" flipV="1">
                <a:off x="1522221" y="508903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2" name="Rechteck 231"/>
              <p:cNvSpPr/>
              <p:nvPr/>
            </p:nvSpPr>
            <p:spPr>
              <a:xfrm rot="10801473" flipV="1">
                <a:off x="1600138" y="508860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3" name="Rechteck 232"/>
              <p:cNvSpPr/>
              <p:nvPr/>
            </p:nvSpPr>
            <p:spPr>
              <a:xfrm rot="10801473" flipV="1">
                <a:off x="1680278" y="508538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4" name="Rechteck 233"/>
              <p:cNvSpPr/>
              <p:nvPr/>
            </p:nvSpPr>
            <p:spPr>
              <a:xfrm rot="10801473" flipV="1">
                <a:off x="1758195" y="5084957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5" name="Rechteck 234"/>
              <p:cNvSpPr/>
              <p:nvPr/>
            </p:nvSpPr>
            <p:spPr>
              <a:xfrm rot="10801473" flipV="1">
                <a:off x="1836113" y="508452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6" name="Rechteck 235"/>
              <p:cNvSpPr/>
              <p:nvPr/>
            </p:nvSpPr>
            <p:spPr>
              <a:xfrm rot="10801473" flipV="1">
                <a:off x="1914031" y="508409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7" name="Rechteck 236"/>
              <p:cNvSpPr/>
              <p:nvPr/>
            </p:nvSpPr>
            <p:spPr>
              <a:xfrm rot="10801473" flipV="1">
                <a:off x="1991948" y="508366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8" name="Rechteck 237"/>
              <p:cNvSpPr/>
              <p:nvPr/>
            </p:nvSpPr>
            <p:spPr>
              <a:xfrm rot="10801473" flipV="1">
                <a:off x="2069866" y="508323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39" name="Rechteck 238"/>
              <p:cNvSpPr/>
              <p:nvPr/>
            </p:nvSpPr>
            <p:spPr>
              <a:xfrm rot="10801473" flipV="1">
                <a:off x="2147783" y="508280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0" name="Rechteck 239"/>
              <p:cNvSpPr/>
              <p:nvPr/>
            </p:nvSpPr>
            <p:spPr>
              <a:xfrm rot="10801473" flipV="1">
                <a:off x="2225702" y="5082377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1" name="Rechteck 240"/>
              <p:cNvSpPr/>
              <p:nvPr/>
            </p:nvSpPr>
            <p:spPr>
              <a:xfrm rot="10801473" flipV="1">
                <a:off x="2303619" y="508194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2" name="Rechteck 241"/>
              <p:cNvSpPr/>
              <p:nvPr/>
            </p:nvSpPr>
            <p:spPr>
              <a:xfrm rot="10801473" flipV="1">
                <a:off x="2381537" y="508151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3" name="Rechteck 242"/>
              <p:cNvSpPr/>
              <p:nvPr/>
            </p:nvSpPr>
            <p:spPr>
              <a:xfrm rot="10801473" flipV="1">
                <a:off x="2459454" y="508108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4" name="Rechteck 243"/>
              <p:cNvSpPr/>
              <p:nvPr/>
            </p:nvSpPr>
            <p:spPr>
              <a:xfrm rot="10801473" flipV="1">
                <a:off x="2532630" y="507791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5" name="Rechteck 244"/>
              <p:cNvSpPr/>
              <p:nvPr/>
            </p:nvSpPr>
            <p:spPr>
              <a:xfrm rot="10801473" flipV="1">
                <a:off x="2610548" y="507748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8" name="Rechteck 247"/>
              <p:cNvSpPr/>
              <p:nvPr/>
            </p:nvSpPr>
            <p:spPr>
              <a:xfrm rot="10801473" flipV="1">
                <a:off x="2688465" y="5077054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49" name="Rechteck 248"/>
              <p:cNvSpPr/>
              <p:nvPr/>
            </p:nvSpPr>
            <p:spPr>
              <a:xfrm rot="10801473" flipV="1">
                <a:off x="2766383" y="5076624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250" name="Rechteck 249"/>
              <p:cNvSpPr/>
              <p:nvPr/>
            </p:nvSpPr>
            <p:spPr>
              <a:xfrm rot="10801473" flipV="1">
                <a:off x="2844301" y="5076193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E9325E2-C401-4573-B93B-A0EA2B9EE5FE}" type="slidenum">
              <a:rPr lang="zh-CN" altLang="en-US"/>
              <a:pPr>
                <a:defRPr/>
              </a:pPr>
              <a:t>5</a:t>
            </a:fld>
            <a:endParaRPr lang="zh-CN" altLang="en-US" sz="1800">
              <a:solidFill>
                <a:schemeClr val="tx1"/>
              </a:solidFill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13315" name="图片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356738"/>
            <a:ext cx="9144000" cy="4634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6" name="Line 7"/>
          <p:cNvSpPr>
            <a:spLocks noChangeShapeType="1"/>
          </p:cNvSpPr>
          <p:nvPr/>
        </p:nvSpPr>
        <p:spPr bwMode="auto">
          <a:xfrm>
            <a:off x="0" y="5943346"/>
            <a:ext cx="9144000" cy="0"/>
          </a:xfrm>
          <a:prstGeom prst="line">
            <a:avLst/>
          </a:prstGeom>
          <a:noFill/>
          <a:ln w="1524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3317" name="Line 33"/>
          <p:cNvSpPr>
            <a:spLocks noChangeShapeType="1"/>
          </p:cNvSpPr>
          <p:nvPr/>
        </p:nvSpPr>
        <p:spPr bwMode="auto">
          <a:xfrm>
            <a:off x="-20638" y="1257649"/>
            <a:ext cx="9139238" cy="0"/>
          </a:xfrm>
          <a:prstGeom prst="line">
            <a:avLst/>
          </a:prstGeom>
          <a:noFill/>
          <a:ln w="1524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3318" name="Line 36"/>
          <p:cNvSpPr>
            <a:spLocks noChangeShapeType="1"/>
          </p:cNvSpPr>
          <p:nvPr/>
        </p:nvSpPr>
        <p:spPr bwMode="auto">
          <a:xfrm>
            <a:off x="0" y="5956684"/>
            <a:ext cx="9144000" cy="0"/>
          </a:xfrm>
          <a:prstGeom prst="line">
            <a:avLst/>
          </a:prstGeom>
          <a:noFill/>
          <a:ln w="152400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3319" name="Rectangle 43"/>
          <p:cNvSpPr>
            <a:spLocks noChangeArrowheads="1"/>
          </p:cNvSpPr>
          <p:nvPr/>
        </p:nvSpPr>
        <p:spPr bwMode="auto">
          <a:xfrm>
            <a:off x="0" y="0"/>
            <a:ext cx="9144000" cy="11966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zh-CN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  <p:pic>
        <p:nvPicPr>
          <p:cNvPr id="8203" name="Picture 35" descr="热气球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64388" y="362052"/>
            <a:ext cx="1428750" cy="1987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4" name="TextBox 8"/>
          <p:cNvSpPr>
            <a:spLocks noChangeArrowheads="1"/>
          </p:cNvSpPr>
          <p:nvPr/>
        </p:nvSpPr>
        <p:spPr bwMode="auto">
          <a:xfrm>
            <a:off x="2987678" y="548794"/>
            <a:ext cx="51847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2000" b="1" i="1">
                <a:solidFill>
                  <a:srgbClr val="FF0000"/>
                </a:solidFill>
                <a:latin typeface="黑体" pitchFamily="49" charset="-122"/>
                <a:ea typeface="黑体" pitchFamily="49" charset="-122"/>
                <a:sym typeface="黑体" pitchFamily="49" charset="-122"/>
              </a:rPr>
              <a:t>PPT</a:t>
            </a:r>
            <a:r>
              <a:rPr lang="zh-CN" altLang="en-US" sz="2000" b="1" i="1">
                <a:solidFill>
                  <a:srgbClr val="FF0000"/>
                </a:solidFill>
                <a:latin typeface="黑体" pitchFamily="49" charset="-122"/>
                <a:ea typeface="黑体" pitchFamily="49" charset="-122"/>
                <a:sym typeface="黑体" pitchFamily="49" charset="-122"/>
              </a:rPr>
              <a:t>宝藏致力于优秀的</a:t>
            </a:r>
            <a:r>
              <a:rPr lang="en-US" altLang="zh-CN" sz="2000" b="1" i="1">
                <a:solidFill>
                  <a:srgbClr val="FF0000"/>
                </a:solidFill>
                <a:latin typeface="黑体" pitchFamily="49" charset="-122"/>
                <a:ea typeface="黑体" pitchFamily="49" charset="-122"/>
                <a:sym typeface="黑体" pitchFamily="49" charset="-122"/>
              </a:rPr>
              <a:t>ppt</a:t>
            </a:r>
            <a:r>
              <a:rPr lang="zh-CN" altLang="en-US" sz="2000" b="1" i="1">
                <a:solidFill>
                  <a:srgbClr val="FF0000"/>
                </a:solidFill>
                <a:latin typeface="黑体" pitchFamily="49" charset="-122"/>
                <a:ea typeface="黑体" pitchFamily="49" charset="-122"/>
                <a:sym typeface="黑体" pitchFamily="49" charset="-122"/>
              </a:rPr>
              <a:t>分享</a:t>
            </a:r>
            <a:endParaRPr lang="zh-CN" altLang="en-US"/>
          </a:p>
        </p:txBody>
      </p:sp>
      <p:pic>
        <p:nvPicPr>
          <p:cNvPr id="13322" name="图片 3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928" y="129578"/>
            <a:ext cx="2982913" cy="996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6" name="图片 8" descr="07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893888" y="0"/>
            <a:ext cx="984250" cy="97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7" name="Picture 9" descr="美女跳舞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79388" y="1341494"/>
            <a:ext cx="2297112" cy="5247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5" name="Picture 60" descr="绿风车棍子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461375" y="4218842"/>
            <a:ext cx="71438" cy="1657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9" name="Picture 59" descr="绿风车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850188" y="3723405"/>
            <a:ext cx="1217612" cy="1219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10" name="TextBox 4"/>
          <p:cNvSpPr>
            <a:spLocks noChangeArrowheads="1"/>
          </p:cNvSpPr>
          <p:nvPr/>
        </p:nvSpPr>
        <p:spPr bwMode="auto">
          <a:xfrm>
            <a:off x="2627316" y="2477188"/>
            <a:ext cx="5329237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6"/>
              </a:rPr>
              <a:t>PPT</a:t>
            </a:r>
            <a:r>
              <a:rPr lang="zh-CN" altLang="en-US" sz="1600">
                <a:solidFill>
                  <a:srgbClr val="000000"/>
                </a:solidFill>
                <a:latin typeface="Calibri" pitchFamily="34" charset="0"/>
                <a:hlinkClick r:id="rId6"/>
              </a:rPr>
              <a:t>模板下载 </a:t>
            </a:r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6"/>
              </a:rPr>
              <a:t>http://www.pptbz.com/</a:t>
            </a:r>
            <a:endParaRPr lang="en-US" altLang="zh-CN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endParaRPr lang="zh-CN" altLang="en-US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2"/>
              </a:rPr>
              <a:t>PPT</a:t>
            </a:r>
            <a:r>
              <a:rPr lang="zh-CN" altLang="en-US" sz="1600">
                <a:solidFill>
                  <a:srgbClr val="000000"/>
                </a:solidFill>
                <a:latin typeface="Calibri" pitchFamily="34" charset="0"/>
                <a:hlinkClick r:id="rId12"/>
              </a:rPr>
              <a:t>素材下载  </a:t>
            </a:r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2"/>
              </a:rPr>
              <a:t>http://www.pptbz.com/pptshucai/</a:t>
            </a:r>
            <a:endParaRPr lang="en-US" altLang="zh-CN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endParaRPr lang="zh-CN" altLang="en-US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3"/>
              </a:rPr>
              <a:t>PPT</a:t>
            </a:r>
            <a:r>
              <a:rPr lang="zh-CN" altLang="en-US" sz="1600">
                <a:solidFill>
                  <a:srgbClr val="000000"/>
                </a:solidFill>
                <a:latin typeface="Calibri" pitchFamily="34" charset="0"/>
                <a:hlinkClick r:id="rId13"/>
              </a:rPr>
              <a:t>背景图片 </a:t>
            </a:r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3"/>
              </a:rPr>
              <a:t>http://www.pptbz.com/pptpic/</a:t>
            </a:r>
            <a:endParaRPr lang="en-US" altLang="zh-CN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endParaRPr lang="zh-CN" altLang="en-US" sz="160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4"/>
              </a:rPr>
              <a:t>PPT</a:t>
            </a:r>
            <a:r>
              <a:rPr lang="zh-CN" altLang="en-US" sz="1600">
                <a:solidFill>
                  <a:srgbClr val="000000"/>
                </a:solidFill>
                <a:latin typeface="Calibri" pitchFamily="34" charset="0"/>
                <a:hlinkClick r:id="rId14"/>
              </a:rPr>
              <a:t>课件下载 </a:t>
            </a:r>
            <a:r>
              <a:rPr lang="en-US" altLang="zh-CN" sz="1600">
                <a:solidFill>
                  <a:srgbClr val="000000"/>
                </a:solidFill>
                <a:latin typeface="Calibri" pitchFamily="34" charset="0"/>
                <a:hlinkClick r:id="rId14"/>
              </a:rPr>
              <a:t>http://www.pptbz.com/kejian/</a:t>
            </a:r>
            <a:endParaRPr lang="zh-CN" altLang="en-US" sz="160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8211" name="图片 55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2305206">
            <a:off x="2293938" y="2370478"/>
            <a:ext cx="457200" cy="45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2" name="图片 56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2305206">
            <a:off x="2293938" y="2951665"/>
            <a:ext cx="457200" cy="45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3" name="图片 57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2305206">
            <a:off x="2293938" y="3527135"/>
            <a:ext cx="457200" cy="45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4" name="图片 58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 rot="2305206">
            <a:off x="2293938" y="4104511"/>
            <a:ext cx="457200" cy="45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32" name="TextBox 22"/>
          <p:cNvSpPr>
            <a:spLocks noChangeArrowheads="1"/>
          </p:cNvSpPr>
          <p:nvPr/>
        </p:nvSpPr>
        <p:spPr bwMode="auto">
          <a:xfrm>
            <a:off x="1903413" y="6166294"/>
            <a:ext cx="68571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400">
                <a:solidFill>
                  <a:srgbClr val="FF0000"/>
                </a:solidFill>
                <a:latin typeface="Calibri" pitchFamily="34" charset="0"/>
              </a:rPr>
              <a:t>更多精美</a:t>
            </a:r>
            <a:r>
              <a:rPr lang="en-US" altLang="zh-CN" sz="2400">
                <a:solidFill>
                  <a:srgbClr val="FF0000"/>
                </a:solidFill>
                <a:latin typeface="Calibri" pitchFamily="34" charset="0"/>
              </a:rPr>
              <a:t>ppt</a:t>
            </a:r>
            <a:r>
              <a:rPr lang="zh-CN" altLang="en-US" sz="2400">
                <a:solidFill>
                  <a:srgbClr val="FF0000"/>
                </a:solidFill>
                <a:latin typeface="Calibri" pitchFamily="34" charset="0"/>
              </a:rPr>
              <a:t>下载请点击：</a:t>
            </a:r>
            <a:r>
              <a:rPr lang="en-US" altLang="zh-CN" sz="2400">
                <a:solidFill>
                  <a:srgbClr val="FF0000"/>
                </a:solidFill>
                <a:latin typeface="Calibri" pitchFamily="34" charset="0"/>
                <a:hlinkClick r:id="rId6"/>
              </a:rPr>
              <a:t>ppt</a:t>
            </a:r>
            <a:r>
              <a:rPr lang="zh-CN" altLang="en-US" sz="2400">
                <a:solidFill>
                  <a:srgbClr val="FF0000"/>
                </a:solidFill>
                <a:latin typeface="Calibri" pitchFamily="34" charset="0"/>
                <a:hlinkClick r:id="rId6"/>
              </a:rPr>
              <a:t>宝藏</a:t>
            </a:r>
            <a:r>
              <a:rPr lang="en-US" altLang="zh-CN" sz="2400">
                <a:solidFill>
                  <a:srgbClr val="FF0000"/>
                </a:solidFill>
                <a:latin typeface="Calibri" pitchFamily="34" charset="0"/>
                <a:hlinkClick r:id="rId6"/>
              </a:rPr>
              <a:t>-www.pptbz.com</a:t>
            </a:r>
            <a:endParaRPr lang="zh-CN" altLang="en-US" sz="2400">
              <a:solidFill>
                <a:srgbClr val="FF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>
    <p:sndAc>
      <p:stSnd loop="1">
        <p:snd r:embed="rId3" name="亡灵序曲.wav" builtIn="1"/>
      </p:stSnd>
    </p:sndAc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7" dur="1000"/>
                                        <p:tgtEl>
                                          <p:spTgt spid="82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2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2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3" presetClass="entr" presetSubtype="3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" fill="hold"/>
                                        <p:tgtEl>
                                          <p:spTgt spid="82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repeatCount="200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16" dur="200"/>
                                        <p:tgtEl>
                                          <p:spTgt spid="8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19" dur="1000"/>
                                        <p:tgtEl>
                                          <p:spTgt spid="8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xit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Effect>
                                      <p:cBhvr>
                                        <p:cTn id="21" dur="900"/>
                                        <p:tgtEl>
                                          <p:spTgt spid="82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899"/>
                                          </p:stCondLst>
                                        </p:cTn>
                                        <p:tgtEl>
                                          <p:spTgt spid="8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47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25" dur="1000"/>
                                        <p:tgtEl>
                                          <p:spTgt spid="82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9" dur="5000" fill="hold"/>
                                        <p:tgtEl>
                                          <p:spTgt spid="820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32" dur="500"/>
                                        <p:tgtEl>
                                          <p:spTgt spid="8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35" dur="500"/>
                                        <p:tgtEl>
                                          <p:spTgt spid="8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38" dur="500"/>
                                        <p:tgtEl>
                                          <p:spTgt spid="8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41" dur="500"/>
                                        <p:tgtEl>
                                          <p:spTgt spid="8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>
                                      <p:cBhvr>
                                        <p:cTn id="44" dur="500"/>
                                        <p:tgtEl>
                                          <p:spTgt spid="8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04" grpId="0" bldLvl="0" autoUpdateAnimBg="0"/>
      <p:bldP spid="8204" grpId="1" bldLvl="0" autoUpdateAnimBg="0"/>
      <p:bldP spid="8210" grpId="0" bldLvl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EE4P_STYLE" val="Standard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98</Words>
  <Application>Microsoft Office PowerPoint</Application>
  <PresentationFormat>全屏显示(4:3)</PresentationFormat>
  <Paragraphs>35</Paragraphs>
  <Slides>5</Slides>
  <Notes>3</Notes>
  <HiddenSlides>0</HiddenSlides>
  <MMClips>0</MMClips>
  <ScaleCrop>false</ScaleCrop>
  <HeadingPairs>
    <vt:vector size="4" baseType="variant">
      <vt:variant>
        <vt:lpstr>主题</vt:lpstr>
      </vt:variant>
      <vt:variant>
        <vt:i4>2</vt:i4>
      </vt:variant>
      <vt:variant>
        <vt:lpstr>幻灯片标题</vt:lpstr>
      </vt:variant>
      <vt:variant>
        <vt:i4>5</vt:i4>
      </vt:variant>
    </vt:vector>
  </HeadingPairs>
  <TitlesOfParts>
    <vt:vector size="7" baseType="lpstr">
      <vt:lpstr>Standarddesign</vt:lpstr>
      <vt:lpstr>Office 主题</vt:lpstr>
      <vt:lpstr>幻灯片 1</vt:lpstr>
      <vt:lpstr>Domino</vt:lpstr>
      <vt:lpstr>Domino</vt:lpstr>
      <vt:lpstr>Domino</vt:lpstr>
      <vt:lpstr>幻灯片 5</vt:lpstr>
    </vt:vector>
  </TitlesOfParts>
  <Company>Inscale GmbH &amp; Co. K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ww.pptbz.com</dc:creator>
  <cp:keywords>ppt宝藏</cp:keywords>
  <dc:description>Inscale GmbH, PowerPoint Presentation for Download</dc:description>
  <cp:lastModifiedBy>微软用户</cp:lastModifiedBy>
  <cp:revision>500</cp:revision>
  <dcterms:created xsi:type="dcterms:W3CDTF">2008-04-16T13:39:00Z</dcterms:created>
  <dcterms:modified xsi:type="dcterms:W3CDTF">2014-12-31T02:45:37Z</dcterms:modified>
</cp:coreProperties>
</file>